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671" r:id="rId2"/>
    <p:sldMasterId id="2147483701" r:id="rId3"/>
    <p:sldMasterId id="2147483715" r:id="rId4"/>
  </p:sldMasterIdLst>
  <p:notesMasterIdLst>
    <p:notesMasterId r:id="rId19"/>
  </p:notesMasterIdLst>
  <p:sldIdLst>
    <p:sldId id="2147377938" r:id="rId5"/>
    <p:sldId id="2147377930" r:id="rId6"/>
    <p:sldId id="2147377934" r:id="rId7"/>
    <p:sldId id="2147377932" r:id="rId8"/>
    <p:sldId id="259" r:id="rId9"/>
    <p:sldId id="2147377927" r:id="rId10"/>
    <p:sldId id="2147377935" r:id="rId11"/>
    <p:sldId id="1232" r:id="rId12"/>
    <p:sldId id="1233" r:id="rId13"/>
    <p:sldId id="2147377943" r:id="rId14"/>
    <p:sldId id="2147377942" r:id="rId15"/>
    <p:sldId id="1227" r:id="rId16"/>
    <p:sldId id="1206" r:id="rId17"/>
    <p:sldId id="2147377939" r:id="rId18"/>
  </p:sldIdLst>
  <p:sldSz cx="12192000" cy="6858000"/>
  <p:notesSz cx="6858000" cy="9144000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oyczyńska Beata - Detal" initials="WB-D" lastIdx="7" clrIdx="0">
    <p:extLst>
      <p:ext uri="{19B8F6BF-5375-455C-9EA6-DF929625EA0E}">
        <p15:presenceInfo xmlns:p15="http://schemas.microsoft.com/office/powerpoint/2012/main" userId="S-1-5-21-2597135808-1536631685-4118165823-704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791F"/>
    <a:srgbClr val="FFD200"/>
    <a:srgbClr val="A885D8"/>
    <a:srgbClr val="FFB4E6"/>
    <a:srgbClr val="50BE87"/>
    <a:srgbClr val="4BB4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434" autoAdjust="0"/>
    <p:restoredTop sz="54270" autoAdjust="0"/>
  </p:normalViewPr>
  <p:slideViewPr>
    <p:cSldViewPr snapToGrid="0" snapToObjects="1">
      <p:cViewPr varScale="1">
        <p:scale>
          <a:sx n="62" d="100"/>
          <a:sy n="62" d="100"/>
        </p:scale>
        <p:origin x="744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3BE8E0-A693-4F5F-B401-786B30F0AFCD}" type="datetimeFigureOut">
              <a:rPr lang="pl-PL" smtClean="0"/>
              <a:t>11.09.2024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549B84-2356-4752-AFD2-E39B0D5C3455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44529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Tajemnica Orange Polska S.A. - Confidential</a:t>
            </a: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5932DF-9606-4758-A2B5-AF1153FB1A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55 Roman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4352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Tajemnica Orange Polska S.A. - Confidential</a:t>
            </a: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5932DF-9606-4758-A2B5-AF1153FB1A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55 Roman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52219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l-PL" dirty="0"/>
              <a:t>Patrycja do Kamila: Kamil, czy liczba tych ataków jest wystarczającym powodem do wprowadzenia odpowiednich zabezpieczeń?</a:t>
            </a:r>
          </a:p>
          <a:p>
            <a:r>
              <a:rPr lang="pl-PL" dirty="0"/>
              <a:t>Osoba – Kamil</a:t>
            </a:r>
          </a:p>
          <a:p>
            <a:r>
              <a:rPr lang="pl-PL" dirty="0"/>
              <a:t>Teza: zegar tyka – czas płynie nieubłaganie</a:t>
            </a:r>
          </a:p>
          <a:p>
            <a:endParaRPr lang="pl-PL" dirty="0"/>
          </a:p>
          <a:p>
            <a:endParaRPr lang="pl-PL" dirty="0"/>
          </a:p>
          <a:p>
            <a:endParaRPr lang="pl-PL" dirty="0"/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5EFA4E-8116-4C31-B9E9-C6A6B9717D78}" type="slidenum">
              <a:rPr kumimoji="0" lang="pl-PL" alt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l-PL" alt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6671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Osoba - Kamil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pl-PL" dirty="0"/>
              <a:t>Teza 1. Pojawia się kilka nowych wymogów w obszarze analizy ryzyka, zarządzania incydentami, testowania odporności, udostępniania informacji</a:t>
            </a:r>
          </a:p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5EFA4E-8116-4C31-B9E9-C6A6B9717D78}" type="slidenum">
              <a:rPr kumimoji="0" lang="pl-PL" alt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l-PL" alt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9521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t>Tajemnica Orange Polska S.A. - Confidential</a:t>
            </a: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5932DF-9606-4758-A2B5-AF1153FB1AB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 55 Roman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 55 Roman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09285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5EFA4E-8116-4C31-B9E9-C6A6B9717D78}" type="slidenum">
              <a:rPr kumimoji="0" lang="pl-PL" altLang="pl-P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pl-PL" altLang="pl-P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874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11.emf"/><Relationship Id="rId7" Type="http://schemas.openxmlformats.org/officeDocument/2006/relationships/image" Target="../media/image14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emf"/><Relationship Id="rId5" Type="http://schemas.openxmlformats.org/officeDocument/2006/relationships/image" Target="../media/image7.emf"/><Relationship Id="rId4" Type="http://schemas.openxmlformats.org/officeDocument/2006/relationships/image" Target="../media/image12.emf"/><Relationship Id="rId9" Type="http://schemas.openxmlformats.org/officeDocument/2006/relationships/image" Target="../media/image9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emf"/><Relationship Id="rId4" Type="http://schemas.openxmlformats.org/officeDocument/2006/relationships/image" Target="../media/image8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7599" y="1577979"/>
            <a:ext cx="11355300" cy="4488388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/>
            </a:lvl6pPr>
          </a:lstStyle>
          <a:p>
            <a:pPr lvl="0"/>
            <a:r>
              <a:rPr lang="pl-PL" noProof="0" dirty="0"/>
              <a:t>Kliknij, aby edytować tekst</a:t>
            </a:r>
          </a:p>
          <a:p>
            <a:pPr lvl="1"/>
            <a:r>
              <a:rPr lang="pl-PL" noProof="0" dirty="0"/>
              <a:t>Drugi poziom</a:t>
            </a:r>
          </a:p>
          <a:p>
            <a:pPr lvl="2"/>
            <a:r>
              <a:rPr lang="pl-PL" noProof="0" dirty="0"/>
              <a:t>Trzeci poziom</a:t>
            </a:r>
          </a:p>
          <a:p>
            <a:pPr lvl="3"/>
            <a:r>
              <a:rPr lang="pl-PL" noProof="0" dirty="0"/>
              <a:t>Czwarty poziom</a:t>
            </a:r>
          </a:p>
          <a:p>
            <a:pPr lvl="4"/>
            <a:r>
              <a:rPr lang="pl-PL" noProof="0" dirty="0"/>
              <a:t>Piąty poziom</a:t>
            </a:r>
          </a:p>
          <a:p>
            <a:pPr lvl="5"/>
            <a:r>
              <a:rPr lang="pl-PL" noProof="0" dirty="0"/>
              <a:t>Szósty poziom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 noProof="0" dirty="0"/>
              <a:t>Kliknij, aby edytować tytuł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8540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59"/>
            <a:ext cx="12192000" cy="6858000"/>
          </a:xfrm>
          <a:prstGeom prst="rect">
            <a:avLst/>
          </a:prstGeom>
        </p:spPr>
      </p:pic>
      <p:pic>
        <p:nvPicPr>
          <p:cNvPr id="15" name="Image 2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04" t="42203" r="11604"/>
          <a:stretch/>
        </p:blipFill>
        <p:spPr>
          <a:xfrm rot="10800000">
            <a:off x="0" y="2117"/>
            <a:ext cx="2047336" cy="3963752"/>
          </a:xfrm>
          <a:prstGeom prst="rect">
            <a:avLst/>
          </a:prstGeom>
        </p:spPr>
      </p:pic>
      <p:grpSp>
        <p:nvGrpSpPr>
          <p:cNvPr id="3" name="Group 2"/>
          <p:cNvGrpSpPr/>
          <p:nvPr userDrawn="1"/>
        </p:nvGrpSpPr>
        <p:grpSpPr>
          <a:xfrm>
            <a:off x="418050" y="5645154"/>
            <a:ext cx="817033" cy="817033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2351584" y="1574803"/>
            <a:ext cx="7104789" cy="2046220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333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51584" y="3813045"/>
            <a:ext cx="7104789" cy="672075"/>
          </a:xfrm>
        </p:spPr>
        <p:txBody>
          <a:bodyPr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>
                <a:solidFill>
                  <a:schemeClr val="bg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noProof="0"/>
              <a:t>Click to add presenter / subtitle</a:t>
            </a:r>
          </a:p>
        </p:txBody>
      </p:sp>
      <p:sp>
        <p:nvSpPr>
          <p:cNvPr id="25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2351584" y="4677141"/>
            <a:ext cx="7104789" cy="672075"/>
          </a:xfrm>
        </p:spPr>
        <p:txBody>
          <a:bodyPr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>
                <a:solidFill>
                  <a:schemeClr val="bg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noProof="0"/>
              <a:t>Click to edit date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2351621" y="463551"/>
            <a:ext cx="2264833" cy="660400"/>
            <a:chOff x="1763713" y="347663"/>
            <a:chExt cx="1698625" cy="495300"/>
          </a:xfrm>
        </p:grpSpPr>
        <p:sp>
          <p:nvSpPr>
            <p:cNvPr id="19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763713" y="347663"/>
              <a:ext cx="1698625" cy="495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0" name="Freeform 5"/>
            <p:cNvSpPr>
              <a:spLocks noEditPoints="1"/>
            </p:cNvSpPr>
            <p:nvPr userDrawn="1"/>
          </p:nvSpPr>
          <p:spPr bwMode="auto">
            <a:xfrm>
              <a:off x="1763713" y="347663"/>
              <a:ext cx="182563" cy="193675"/>
            </a:xfrm>
            <a:custGeom>
              <a:avLst/>
              <a:gdLst>
                <a:gd name="T0" fmla="*/ 181 w 362"/>
                <a:gd name="T1" fmla="*/ 0 h 386"/>
                <a:gd name="T2" fmla="*/ 312 w 362"/>
                <a:gd name="T3" fmla="*/ 54 h 386"/>
                <a:gd name="T4" fmla="*/ 362 w 362"/>
                <a:gd name="T5" fmla="*/ 194 h 386"/>
                <a:gd name="T6" fmla="*/ 312 w 362"/>
                <a:gd name="T7" fmla="*/ 332 h 386"/>
                <a:gd name="T8" fmla="*/ 181 w 362"/>
                <a:gd name="T9" fmla="*/ 386 h 386"/>
                <a:gd name="T10" fmla="*/ 50 w 362"/>
                <a:gd name="T11" fmla="*/ 332 h 386"/>
                <a:gd name="T12" fmla="*/ 0 w 362"/>
                <a:gd name="T13" fmla="*/ 194 h 386"/>
                <a:gd name="T14" fmla="*/ 50 w 362"/>
                <a:gd name="T15" fmla="*/ 54 h 386"/>
                <a:gd name="T16" fmla="*/ 181 w 362"/>
                <a:gd name="T17" fmla="*/ 0 h 386"/>
                <a:gd name="T18" fmla="*/ 81 w 362"/>
                <a:gd name="T19" fmla="*/ 194 h 386"/>
                <a:gd name="T20" fmla="*/ 107 w 362"/>
                <a:gd name="T21" fmla="*/ 284 h 386"/>
                <a:gd name="T22" fmla="*/ 181 w 362"/>
                <a:gd name="T23" fmla="*/ 318 h 386"/>
                <a:gd name="T24" fmla="*/ 254 w 362"/>
                <a:gd name="T25" fmla="*/ 284 h 386"/>
                <a:gd name="T26" fmla="*/ 281 w 362"/>
                <a:gd name="T27" fmla="*/ 194 h 386"/>
                <a:gd name="T28" fmla="*/ 254 w 362"/>
                <a:gd name="T29" fmla="*/ 101 h 386"/>
                <a:gd name="T30" fmla="*/ 180 w 362"/>
                <a:gd name="T31" fmla="*/ 68 h 386"/>
                <a:gd name="T32" fmla="*/ 107 w 362"/>
                <a:gd name="T33" fmla="*/ 101 h 386"/>
                <a:gd name="T34" fmla="*/ 81 w 362"/>
                <a:gd name="T35" fmla="*/ 194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2" h="386">
                  <a:moveTo>
                    <a:pt x="181" y="0"/>
                  </a:moveTo>
                  <a:cubicBezTo>
                    <a:pt x="235" y="0"/>
                    <a:pt x="279" y="18"/>
                    <a:pt x="312" y="54"/>
                  </a:cubicBezTo>
                  <a:cubicBezTo>
                    <a:pt x="345" y="90"/>
                    <a:pt x="362" y="137"/>
                    <a:pt x="362" y="194"/>
                  </a:cubicBezTo>
                  <a:cubicBezTo>
                    <a:pt x="362" y="250"/>
                    <a:pt x="345" y="296"/>
                    <a:pt x="312" y="332"/>
                  </a:cubicBezTo>
                  <a:cubicBezTo>
                    <a:pt x="279" y="368"/>
                    <a:pt x="235" y="386"/>
                    <a:pt x="181" y="386"/>
                  </a:cubicBezTo>
                  <a:cubicBezTo>
                    <a:pt x="127" y="386"/>
                    <a:pt x="83" y="368"/>
                    <a:pt x="50" y="332"/>
                  </a:cubicBezTo>
                  <a:cubicBezTo>
                    <a:pt x="16" y="296"/>
                    <a:pt x="0" y="250"/>
                    <a:pt x="0" y="194"/>
                  </a:cubicBezTo>
                  <a:cubicBezTo>
                    <a:pt x="0" y="137"/>
                    <a:pt x="17" y="91"/>
                    <a:pt x="50" y="54"/>
                  </a:cubicBezTo>
                  <a:cubicBezTo>
                    <a:pt x="83" y="18"/>
                    <a:pt x="127" y="0"/>
                    <a:pt x="181" y="0"/>
                  </a:cubicBezTo>
                  <a:close/>
                  <a:moveTo>
                    <a:pt x="81" y="194"/>
                  </a:moveTo>
                  <a:cubicBezTo>
                    <a:pt x="81" y="231"/>
                    <a:pt x="90" y="261"/>
                    <a:pt x="107" y="284"/>
                  </a:cubicBezTo>
                  <a:cubicBezTo>
                    <a:pt x="125" y="306"/>
                    <a:pt x="149" y="318"/>
                    <a:pt x="181" y="318"/>
                  </a:cubicBezTo>
                  <a:cubicBezTo>
                    <a:pt x="212" y="318"/>
                    <a:pt x="236" y="306"/>
                    <a:pt x="254" y="284"/>
                  </a:cubicBezTo>
                  <a:cubicBezTo>
                    <a:pt x="272" y="262"/>
                    <a:pt x="281" y="232"/>
                    <a:pt x="281" y="194"/>
                  </a:cubicBezTo>
                  <a:cubicBezTo>
                    <a:pt x="281" y="155"/>
                    <a:pt x="272" y="124"/>
                    <a:pt x="254" y="101"/>
                  </a:cubicBezTo>
                  <a:cubicBezTo>
                    <a:pt x="237" y="79"/>
                    <a:pt x="212" y="68"/>
                    <a:pt x="180" y="68"/>
                  </a:cubicBezTo>
                  <a:cubicBezTo>
                    <a:pt x="149" y="68"/>
                    <a:pt x="125" y="79"/>
                    <a:pt x="107" y="101"/>
                  </a:cubicBezTo>
                  <a:cubicBezTo>
                    <a:pt x="90" y="124"/>
                    <a:pt x="81" y="155"/>
                    <a:pt x="81" y="194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1" name="Freeform 6"/>
            <p:cNvSpPr>
              <a:spLocks/>
            </p:cNvSpPr>
            <p:nvPr userDrawn="1"/>
          </p:nvSpPr>
          <p:spPr bwMode="auto">
            <a:xfrm>
              <a:off x="1970088" y="400051"/>
              <a:ext cx="85725" cy="136525"/>
            </a:xfrm>
            <a:custGeom>
              <a:avLst/>
              <a:gdLst>
                <a:gd name="T0" fmla="*/ 156 w 172"/>
                <a:gd name="T1" fmla="*/ 0 h 274"/>
                <a:gd name="T2" fmla="*/ 172 w 172"/>
                <a:gd name="T3" fmla="*/ 3 h 274"/>
                <a:gd name="T4" fmla="*/ 172 w 172"/>
                <a:gd name="T5" fmla="*/ 71 h 274"/>
                <a:gd name="T6" fmla="*/ 146 w 172"/>
                <a:gd name="T7" fmla="*/ 68 h 274"/>
                <a:gd name="T8" fmla="*/ 74 w 172"/>
                <a:gd name="T9" fmla="*/ 154 h 274"/>
                <a:gd name="T10" fmla="*/ 74 w 172"/>
                <a:gd name="T11" fmla="*/ 274 h 274"/>
                <a:gd name="T12" fmla="*/ 0 w 172"/>
                <a:gd name="T13" fmla="*/ 274 h 274"/>
                <a:gd name="T14" fmla="*/ 0 w 172"/>
                <a:gd name="T15" fmla="*/ 7 h 274"/>
                <a:gd name="T16" fmla="*/ 70 w 172"/>
                <a:gd name="T17" fmla="*/ 7 h 274"/>
                <a:gd name="T18" fmla="*/ 70 w 172"/>
                <a:gd name="T19" fmla="*/ 57 h 274"/>
                <a:gd name="T20" fmla="*/ 71 w 172"/>
                <a:gd name="T21" fmla="*/ 57 h 274"/>
                <a:gd name="T22" fmla="*/ 105 w 172"/>
                <a:gd name="T23" fmla="*/ 15 h 274"/>
                <a:gd name="T24" fmla="*/ 156 w 172"/>
                <a:gd name="T2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74">
                  <a:moveTo>
                    <a:pt x="156" y="0"/>
                  </a:moveTo>
                  <a:cubicBezTo>
                    <a:pt x="162" y="0"/>
                    <a:pt x="168" y="1"/>
                    <a:pt x="172" y="3"/>
                  </a:cubicBezTo>
                  <a:cubicBezTo>
                    <a:pt x="172" y="71"/>
                    <a:pt x="172" y="71"/>
                    <a:pt x="172" y="71"/>
                  </a:cubicBezTo>
                  <a:cubicBezTo>
                    <a:pt x="164" y="69"/>
                    <a:pt x="155" y="68"/>
                    <a:pt x="146" y="68"/>
                  </a:cubicBezTo>
                  <a:cubicBezTo>
                    <a:pt x="98" y="68"/>
                    <a:pt x="74" y="97"/>
                    <a:pt x="74" y="154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8" y="40"/>
                    <a:pt x="90" y="26"/>
                    <a:pt x="105" y="15"/>
                  </a:cubicBezTo>
                  <a:cubicBezTo>
                    <a:pt x="121" y="5"/>
                    <a:pt x="138" y="0"/>
                    <a:pt x="156" y="0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2" name="Freeform 7"/>
            <p:cNvSpPr>
              <a:spLocks noEditPoints="1"/>
            </p:cNvSpPr>
            <p:nvPr userDrawn="1"/>
          </p:nvSpPr>
          <p:spPr bwMode="auto">
            <a:xfrm>
              <a:off x="2060576" y="400051"/>
              <a:ext cx="130175" cy="139700"/>
            </a:xfrm>
            <a:custGeom>
              <a:avLst/>
              <a:gdLst>
                <a:gd name="T0" fmla="*/ 134 w 260"/>
                <a:gd name="T1" fmla="*/ 0 h 281"/>
                <a:gd name="T2" fmla="*/ 251 w 260"/>
                <a:gd name="T3" fmla="*/ 76 h 281"/>
                <a:gd name="T4" fmla="*/ 251 w 260"/>
                <a:gd name="T5" fmla="*/ 217 h 281"/>
                <a:gd name="T6" fmla="*/ 260 w 260"/>
                <a:gd name="T7" fmla="*/ 274 h 281"/>
                <a:gd name="T8" fmla="*/ 186 w 260"/>
                <a:gd name="T9" fmla="*/ 274 h 281"/>
                <a:gd name="T10" fmla="*/ 180 w 260"/>
                <a:gd name="T11" fmla="*/ 248 h 281"/>
                <a:gd name="T12" fmla="*/ 91 w 260"/>
                <a:gd name="T13" fmla="*/ 281 h 281"/>
                <a:gd name="T14" fmla="*/ 24 w 260"/>
                <a:gd name="T15" fmla="*/ 260 h 281"/>
                <a:gd name="T16" fmla="*/ 0 w 260"/>
                <a:gd name="T17" fmla="*/ 201 h 281"/>
                <a:gd name="T18" fmla="*/ 23 w 260"/>
                <a:gd name="T19" fmla="*/ 144 h 281"/>
                <a:gd name="T20" fmla="*/ 109 w 260"/>
                <a:gd name="T21" fmla="*/ 118 h 281"/>
                <a:gd name="T22" fmla="*/ 165 w 260"/>
                <a:gd name="T23" fmla="*/ 106 h 281"/>
                <a:gd name="T24" fmla="*/ 177 w 260"/>
                <a:gd name="T25" fmla="*/ 85 h 281"/>
                <a:gd name="T26" fmla="*/ 166 w 260"/>
                <a:gd name="T27" fmla="*/ 58 h 281"/>
                <a:gd name="T28" fmla="*/ 130 w 260"/>
                <a:gd name="T29" fmla="*/ 49 h 281"/>
                <a:gd name="T30" fmla="*/ 95 w 260"/>
                <a:gd name="T31" fmla="*/ 59 h 281"/>
                <a:gd name="T32" fmla="*/ 81 w 260"/>
                <a:gd name="T33" fmla="*/ 89 h 281"/>
                <a:gd name="T34" fmla="*/ 8 w 260"/>
                <a:gd name="T35" fmla="*/ 89 h 281"/>
                <a:gd name="T36" fmla="*/ 44 w 260"/>
                <a:gd name="T37" fmla="*/ 23 h 281"/>
                <a:gd name="T38" fmla="*/ 134 w 260"/>
                <a:gd name="T39" fmla="*/ 0 h 281"/>
                <a:gd name="T40" fmla="*/ 73 w 260"/>
                <a:gd name="T41" fmla="*/ 198 h 281"/>
                <a:gd name="T42" fmla="*/ 118 w 260"/>
                <a:gd name="T43" fmla="*/ 232 h 281"/>
                <a:gd name="T44" fmla="*/ 177 w 260"/>
                <a:gd name="T45" fmla="*/ 172 h 281"/>
                <a:gd name="T46" fmla="*/ 177 w 260"/>
                <a:gd name="T47" fmla="*/ 143 h 281"/>
                <a:gd name="T48" fmla="*/ 133 w 260"/>
                <a:gd name="T49" fmla="*/ 156 h 281"/>
                <a:gd name="T50" fmla="*/ 88 w 260"/>
                <a:gd name="T51" fmla="*/ 169 h 281"/>
                <a:gd name="T52" fmla="*/ 73 w 260"/>
                <a:gd name="T53" fmla="*/ 198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0" h="281">
                  <a:moveTo>
                    <a:pt x="134" y="0"/>
                  </a:moveTo>
                  <a:cubicBezTo>
                    <a:pt x="212" y="0"/>
                    <a:pt x="251" y="26"/>
                    <a:pt x="251" y="76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51" y="243"/>
                    <a:pt x="254" y="262"/>
                    <a:pt x="260" y="274"/>
                  </a:cubicBezTo>
                  <a:cubicBezTo>
                    <a:pt x="186" y="274"/>
                    <a:pt x="186" y="274"/>
                    <a:pt x="186" y="274"/>
                  </a:cubicBezTo>
                  <a:cubicBezTo>
                    <a:pt x="183" y="266"/>
                    <a:pt x="181" y="257"/>
                    <a:pt x="180" y="248"/>
                  </a:cubicBezTo>
                  <a:cubicBezTo>
                    <a:pt x="159" y="270"/>
                    <a:pt x="129" y="281"/>
                    <a:pt x="91" y="281"/>
                  </a:cubicBezTo>
                  <a:cubicBezTo>
                    <a:pt x="63" y="281"/>
                    <a:pt x="41" y="274"/>
                    <a:pt x="24" y="260"/>
                  </a:cubicBezTo>
                  <a:cubicBezTo>
                    <a:pt x="8" y="246"/>
                    <a:pt x="0" y="226"/>
                    <a:pt x="0" y="201"/>
                  </a:cubicBezTo>
                  <a:cubicBezTo>
                    <a:pt x="0" y="177"/>
                    <a:pt x="8" y="158"/>
                    <a:pt x="23" y="144"/>
                  </a:cubicBezTo>
                  <a:cubicBezTo>
                    <a:pt x="39" y="130"/>
                    <a:pt x="68" y="121"/>
                    <a:pt x="109" y="118"/>
                  </a:cubicBezTo>
                  <a:cubicBezTo>
                    <a:pt x="139" y="114"/>
                    <a:pt x="158" y="111"/>
                    <a:pt x="165" y="106"/>
                  </a:cubicBezTo>
                  <a:cubicBezTo>
                    <a:pt x="173" y="101"/>
                    <a:pt x="177" y="94"/>
                    <a:pt x="177" y="85"/>
                  </a:cubicBezTo>
                  <a:cubicBezTo>
                    <a:pt x="177" y="73"/>
                    <a:pt x="174" y="64"/>
                    <a:pt x="166" y="58"/>
                  </a:cubicBezTo>
                  <a:cubicBezTo>
                    <a:pt x="159" y="52"/>
                    <a:pt x="147" y="49"/>
                    <a:pt x="130" y="49"/>
                  </a:cubicBezTo>
                  <a:cubicBezTo>
                    <a:pt x="115" y="49"/>
                    <a:pt x="103" y="52"/>
                    <a:pt x="95" y="59"/>
                  </a:cubicBezTo>
                  <a:cubicBezTo>
                    <a:pt x="87" y="65"/>
                    <a:pt x="83" y="75"/>
                    <a:pt x="81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10" y="60"/>
                    <a:pt x="22" y="38"/>
                    <a:pt x="44" y="23"/>
                  </a:cubicBezTo>
                  <a:cubicBezTo>
                    <a:pt x="67" y="8"/>
                    <a:pt x="96" y="0"/>
                    <a:pt x="134" y="0"/>
                  </a:cubicBezTo>
                  <a:close/>
                  <a:moveTo>
                    <a:pt x="73" y="198"/>
                  </a:moveTo>
                  <a:cubicBezTo>
                    <a:pt x="73" y="221"/>
                    <a:pt x="88" y="232"/>
                    <a:pt x="118" y="232"/>
                  </a:cubicBezTo>
                  <a:cubicBezTo>
                    <a:pt x="157" y="232"/>
                    <a:pt x="177" y="212"/>
                    <a:pt x="177" y="172"/>
                  </a:cubicBezTo>
                  <a:cubicBezTo>
                    <a:pt x="177" y="143"/>
                    <a:pt x="177" y="143"/>
                    <a:pt x="177" y="143"/>
                  </a:cubicBezTo>
                  <a:cubicBezTo>
                    <a:pt x="171" y="149"/>
                    <a:pt x="157" y="153"/>
                    <a:pt x="133" y="156"/>
                  </a:cubicBezTo>
                  <a:cubicBezTo>
                    <a:pt x="112" y="159"/>
                    <a:pt x="97" y="163"/>
                    <a:pt x="88" y="169"/>
                  </a:cubicBezTo>
                  <a:cubicBezTo>
                    <a:pt x="78" y="175"/>
                    <a:pt x="73" y="185"/>
                    <a:pt x="73" y="198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6" name="Freeform 8"/>
            <p:cNvSpPr>
              <a:spLocks/>
            </p:cNvSpPr>
            <p:nvPr userDrawn="1"/>
          </p:nvSpPr>
          <p:spPr bwMode="auto">
            <a:xfrm>
              <a:off x="2214563" y="400051"/>
              <a:ext cx="125413" cy="136525"/>
            </a:xfrm>
            <a:custGeom>
              <a:avLst/>
              <a:gdLst>
                <a:gd name="T0" fmla="*/ 153 w 250"/>
                <a:gd name="T1" fmla="*/ 0 h 274"/>
                <a:gd name="T2" fmla="*/ 227 w 250"/>
                <a:gd name="T3" fmla="*/ 26 h 274"/>
                <a:gd name="T4" fmla="*/ 250 w 250"/>
                <a:gd name="T5" fmla="*/ 108 h 274"/>
                <a:gd name="T6" fmla="*/ 250 w 250"/>
                <a:gd name="T7" fmla="*/ 274 h 274"/>
                <a:gd name="T8" fmla="*/ 177 w 250"/>
                <a:gd name="T9" fmla="*/ 274 h 274"/>
                <a:gd name="T10" fmla="*/ 177 w 250"/>
                <a:gd name="T11" fmla="*/ 123 h 274"/>
                <a:gd name="T12" fmla="*/ 167 w 250"/>
                <a:gd name="T13" fmla="*/ 74 h 274"/>
                <a:gd name="T14" fmla="*/ 130 w 250"/>
                <a:gd name="T15" fmla="*/ 58 h 274"/>
                <a:gd name="T16" fmla="*/ 87 w 250"/>
                <a:gd name="T17" fmla="*/ 76 h 274"/>
                <a:gd name="T18" fmla="*/ 73 w 250"/>
                <a:gd name="T19" fmla="*/ 135 h 274"/>
                <a:gd name="T20" fmla="*/ 73 w 250"/>
                <a:gd name="T21" fmla="*/ 274 h 274"/>
                <a:gd name="T22" fmla="*/ 0 w 250"/>
                <a:gd name="T23" fmla="*/ 274 h 274"/>
                <a:gd name="T24" fmla="*/ 0 w 250"/>
                <a:gd name="T25" fmla="*/ 7 h 274"/>
                <a:gd name="T26" fmla="*/ 70 w 250"/>
                <a:gd name="T27" fmla="*/ 7 h 274"/>
                <a:gd name="T28" fmla="*/ 70 w 250"/>
                <a:gd name="T29" fmla="*/ 44 h 274"/>
                <a:gd name="T30" fmla="*/ 71 w 250"/>
                <a:gd name="T31" fmla="*/ 44 h 274"/>
                <a:gd name="T32" fmla="*/ 153 w 250"/>
                <a:gd name="T3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0" h="274">
                  <a:moveTo>
                    <a:pt x="153" y="0"/>
                  </a:moveTo>
                  <a:cubicBezTo>
                    <a:pt x="187" y="0"/>
                    <a:pt x="212" y="9"/>
                    <a:pt x="227" y="26"/>
                  </a:cubicBezTo>
                  <a:cubicBezTo>
                    <a:pt x="243" y="43"/>
                    <a:pt x="250" y="70"/>
                    <a:pt x="250" y="108"/>
                  </a:cubicBezTo>
                  <a:cubicBezTo>
                    <a:pt x="250" y="274"/>
                    <a:pt x="250" y="274"/>
                    <a:pt x="250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7" y="101"/>
                    <a:pt x="174" y="84"/>
                    <a:pt x="167" y="74"/>
                  </a:cubicBezTo>
                  <a:cubicBezTo>
                    <a:pt x="160" y="63"/>
                    <a:pt x="147" y="58"/>
                    <a:pt x="130" y="58"/>
                  </a:cubicBezTo>
                  <a:cubicBezTo>
                    <a:pt x="110" y="58"/>
                    <a:pt x="96" y="64"/>
                    <a:pt x="87" y="76"/>
                  </a:cubicBezTo>
                  <a:cubicBezTo>
                    <a:pt x="78" y="88"/>
                    <a:pt x="73" y="108"/>
                    <a:pt x="73" y="135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90" y="15"/>
                    <a:pt x="117" y="0"/>
                    <a:pt x="153" y="0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7" name="Freeform 9"/>
            <p:cNvSpPr>
              <a:spLocks noEditPoints="1"/>
            </p:cNvSpPr>
            <p:nvPr userDrawn="1"/>
          </p:nvSpPr>
          <p:spPr bwMode="auto">
            <a:xfrm>
              <a:off x="2365376" y="400051"/>
              <a:ext cx="131763" cy="187325"/>
            </a:xfrm>
            <a:custGeom>
              <a:avLst/>
              <a:gdLst>
                <a:gd name="T0" fmla="*/ 114 w 264"/>
                <a:gd name="T1" fmla="*/ 0 h 375"/>
                <a:gd name="T2" fmla="*/ 194 w 264"/>
                <a:gd name="T3" fmla="*/ 43 h 375"/>
                <a:gd name="T4" fmla="*/ 195 w 264"/>
                <a:gd name="T5" fmla="*/ 43 h 375"/>
                <a:gd name="T6" fmla="*/ 195 w 264"/>
                <a:gd name="T7" fmla="*/ 7 h 375"/>
                <a:gd name="T8" fmla="*/ 264 w 264"/>
                <a:gd name="T9" fmla="*/ 7 h 375"/>
                <a:gd name="T10" fmla="*/ 264 w 264"/>
                <a:gd name="T11" fmla="*/ 257 h 375"/>
                <a:gd name="T12" fmla="*/ 229 w 264"/>
                <a:gd name="T13" fmla="*/ 345 h 375"/>
                <a:gd name="T14" fmla="*/ 127 w 264"/>
                <a:gd name="T15" fmla="*/ 375 h 375"/>
                <a:gd name="T16" fmla="*/ 43 w 264"/>
                <a:gd name="T17" fmla="*/ 351 h 375"/>
                <a:gd name="T18" fmla="*/ 9 w 264"/>
                <a:gd name="T19" fmla="*/ 289 h 375"/>
                <a:gd name="T20" fmla="*/ 81 w 264"/>
                <a:gd name="T21" fmla="*/ 289 h 375"/>
                <a:gd name="T22" fmla="*/ 136 w 264"/>
                <a:gd name="T23" fmla="*/ 326 h 375"/>
                <a:gd name="T24" fmla="*/ 180 w 264"/>
                <a:gd name="T25" fmla="*/ 309 h 375"/>
                <a:gd name="T26" fmla="*/ 195 w 264"/>
                <a:gd name="T27" fmla="*/ 261 h 375"/>
                <a:gd name="T28" fmla="*/ 195 w 264"/>
                <a:gd name="T29" fmla="*/ 225 h 375"/>
                <a:gd name="T30" fmla="*/ 194 w 264"/>
                <a:gd name="T31" fmla="*/ 225 h 375"/>
                <a:gd name="T32" fmla="*/ 162 w 264"/>
                <a:gd name="T33" fmla="*/ 255 h 375"/>
                <a:gd name="T34" fmla="*/ 114 w 264"/>
                <a:gd name="T35" fmla="*/ 266 h 375"/>
                <a:gd name="T36" fmla="*/ 30 w 264"/>
                <a:gd name="T37" fmla="*/ 231 h 375"/>
                <a:gd name="T38" fmla="*/ 0 w 264"/>
                <a:gd name="T39" fmla="*/ 132 h 375"/>
                <a:gd name="T40" fmla="*/ 32 w 264"/>
                <a:gd name="T41" fmla="*/ 38 h 375"/>
                <a:gd name="T42" fmla="*/ 114 w 264"/>
                <a:gd name="T43" fmla="*/ 0 h 375"/>
                <a:gd name="T44" fmla="*/ 73 w 264"/>
                <a:gd name="T45" fmla="*/ 131 h 375"/>
                <a:gd name="T46" fmla="*/ 89 w 264"/>
                <a:gd name="T47" fmla="*/ 190 h 375"/>
                <a:gd name="T48" fmla="*/ 132 w 264"/>
                <a:gd name="T49" fmla="*/ 211 h 375"/>
                <a:gd name="T50" fmla="*/ 178 w 264"/>
                <a:gd name="T51" fmla="*/ 191 h 375"/>
                <a:gd name="T52" fmla="*/ 195 w 264"/>
                <a:gd name="T53" fmla="*/ 137 h 375"/>
                <a:gd name="T54" fmla="*/ 179 w 264"/>
                <a:gd name="T55" fmla="*/ 76 h 375"/>
                <a:gd name="T56" fmla="*/ 132 w 264"/>
                <a:gd name="T57" fmla="*/ 55 h 375"/>
                <a:gd name="T58" fmla="*/ 88 w 264"/>
                <a:gd name="T59" fmla="*/ 77 h 375"/>
                <a:gd name="T60" fmla="*/ 73 w 264"/>
                <a:gd name="T61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4" h="375">
                  <a:moveTo>
                    <a:pt x="114" y="0"/>
                  </a:moveTo>
                  <a:cubicBezTo>
                    <a:pt x="151" y="0"/>
                    <a:pt x="178" y="14"/>
                    <a:pt x="194" y="43"/>
                  </a:cubicBezTo>
                  <a:cubicBezTo>
                    <a:pt x="195" y="43"/>
                    <a:pt x="195" y="43"/>
                    <a:pt x="195" y="43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4" y="257"/>
                    <a:pt x="264" y="257"/>
                    <a:pt x="264" y="257"/>
                  </a:cubicBezTo>
                  <a:cubicBezTo>
                    <a:pt x="264" y="296"/>
                    <a:pt x="252" y="325"/>
                    <a:pt x="229" y="345"/>
                  </a:cubicBezTo>
                  <a:cubicBezTo>
                    <a:pt x="205" y="365"/>
                    <a:pt x="171" y="375"/>
                    <a:pt x="127" y="375"/>
                  </a:cubicBezTo>
                  <a:cubicBezTo>
                    <a:pt x="93" y="375"/>
                    <a:pt x="65" y="367"/>
                    <a:pt x="43" y="351"/>
                  </a:cubicBezTo>
                  <a:cubicBezTo>
                    <a:pt x="22" y="334"/>
                    <a:pt x="10" y="314"/>
                    <a:pt x="9" y="289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87" y="314"/>
                    <a:pt x="105" y="326"/>
                    <a:pt x="136" y="326"/>
                  </a:cubicBezTo>
                  <a:cubicBezTo>
                    <a:pt x="155" y="326"/>
                    <a:pt x="169" y="320"/>
                    <a:pt x="180" y="309"/>
                  </a:cubicBezTo>
                  <a:cubicBezTo>
                    <a:pt x="190" y="298"/>
                    <a:pt x="195" y="282"/>
                    <a:pt x="195" y="261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4" y="225"/>
                    <a:pt x="194" y="225"/>
                    <a:pt x="194" y="225"/>
                  </a:cubicBezTo>
                  <a:cubicBezTo>
                    <a:pt x="186" y="238"/>
                    <a:pt x="176" y="248"/>
                    <a:pt x="162" y="255"/>
                  </a:cubicBezTo>
                  <a:cubicBezTo>
                    <a:pt x="148" y="262"/>
                    <a:pt x="132" y="266"/>
                    <a:pt x="114" y="266"/>
                  </a:cubicBezTo>
                  <a:cubicBezTo>
                    <a:pt x="78" y="266"/>
                    <a:pt x="50" y="254"/>
                    <a:pt x="30" y="231"/>
                  </a:cubicBezTo>
                  <a:cubicBezTo>
                    <a:pt x="10" y="208"/>
                    <a:pt x="0" y="175"/>
                    <a:pt x="0" y="132"/>
                  </a:cubicBezTo>
                  <a:cubicBezTo>
                    <a:pt x="0" y="94"/>
                    <a:pt x="10" y="63"/>
                    <a:pt x="32" y="38"/>
                  </a:cubicBezTo>
                  <a:cubicBezTo>
                    <a:pt x="53" y="13"/>
                    <a:pt x="80" y="0"/>
                    <a:pt x="114" y="0"/>
                  </a:cubicBezTo>
                  <a:close/>
                  <a:moveTo>
                    <a:pt x="73" y="131"/>
                  </a:moveTo>
                  <a:cubicBezTo>
                    <a:pt x="73" y="156"/>
                    <a:pt x="78" y="176"/>
                    <a:pt x="89" y="190"/>
                  </a:cubicBezTo>
                  <a:cubicBezTo>
                    <a:pt x="99" y="204"/>
                    <a:pt x="114" y="211"/>
                    <a:pt x="132" y="211"/>
                  </a:cubicBezTo>
                  <a:cubicBezTo>
                    <a:pt x="151" y="211"/>
                    <a:pt x="166" y="204"/>
                    <a:pt x="178" y="191"/>
                  </a:cubicBezTo>
                  <a:cubicBezTo>
                    <a:pt x="189" y="177"/>
                    <a:pt x="195" y="159"/>
                    <a:pt x="195" y="137"/>
                  </a:cubicBezTo>
                  <a:cubicBezTo>
                    <a:pt x="195" y="110"/>
                    <a:pt x="189" y="90"/>
                    <a:pt x="179" y="76"/>
                  </a:cubicBezTo>
                  <a:cubicBezTo>
                    <a:pt x="168" y="62"/>
                    <a:pt x="152" y="55"/>
                    <a:pt x="132" y="55"/>
                  </a:cubicBezTo>
                  <a:cubicBezTo>
                    <a:pt x="113" y="55"/>
                    <a:pt x="98" y="62"/>
                    <a:pt x="88" y="77"/>
                  </a:cubicBezTo>
                  <a:cubicBezTo>
                    <a:pt x="78" y="91"/>
                    <a:pt x="73" y="109"/>
                    <a:pt x="73" y="131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8" name="Freeform 10"/>
            <p:cNvSpPr>
              <a:spLocks noEditPoints="1"/>
            </p:cNvSpPr>
            <p:nvPr userDrawn="1"/>
          </p:nvSpPr>
          <p:spPr bwMode="auto">
            <a:xfrm>
              <a:off x="2520951" y="400051"/>
              <a:ext cx="133350" cy="139700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8 h 281"/>
                <a:gd name="T4" fmla="*/ 250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9 w 266"/>
                <a:gd name="T25" fmla="*/ 265 h 281"/>
                <a:gd name="T26" fmla="*/ 19 w 266"/>
                <a:gd name="T27" fmla="*/ 217 h 281"/>
                <a:gd name="T28" fmla="*/ 0 w 266"/>
                <a:gd name="T29" fmla="*/ 141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3 w 266"/>
                <a:gd name="T37" fmla="*/ 112 h 281"/>
                <a:gd name="T38" fmla="*/ 174 w 266"/>
                <a:gd name="T39" fmla="*/ 69 h 281"/>
                <a:gd name="T40" fmla="*/ 134 w 266"/>
                <a:gd name="T41" fmla="*/ 55 h 281"/>
                <a:gd name="T42" fmla="*/ 92 w 266"/>
                <a:gd name="T43" fmla="*/ 70 h 281"/>
                <a:gd name="T44" fmla="*/ 73 w 266"/>
                <a:gd name="T45" fmla="*/ 112 h 281"/>
                <a:gd name="T46" fmla="*/ 193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2" y="0"/>
                    <a:pt x="184" y="6"/>
                    <a:pt x="203" y="18"/>
                  </a:cubicBezTo>
                  <a:cubicBezTo>
                    <a:pt x="223" y="29"/>
                    <a:pt x="238" y="46"/>
                    <a:pt x="250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8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80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3"/>
                    <a:pt x="175" y="216"/>
                  </a:cubicBezTo>
                  <a:cubicBezTo>
                    <a:pt x="187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1"/>
                    <a:pt x="89" y="275"/>
                    <a:pt x="69" y="265"/>
                  </a:cubicBezTo>
                  <a:cubicBezTo>
                    <a:pt x="48" y="255"/>
                    <a:pt x="31" y="239"/>
                    <a:pt x="19" y="217"/>
                  </a:cubicBezTo>
                  <a:cubicBezTo>
                    <a:pt x="6" y="195"/>
                    <a:pt x="0" y="170"/>
                    <a:pt x="0" y="141"/>
                  </a:cubicBezTo>
                  <a:cubicBezTo>
                    <a:pt x="0" y="114"/>
                    <a:pt x="7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8"/>
                    <a:pt x="174" y="69"/>
                  </a:cubicBezTo>
                  <a:cubicBezTo>
                    <a:pt x="164" y="60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1"/>
                    <a:pt x="75" y="94"/>
                    <a:pt x="73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763713" y="606426"/>
              <a:ext cx="173038" cy="193675"/>
            </a:xfrm>
            <a:custGeom>
              <a:avLst/>
              <a:gdLst>
                <a:gd name="T0" fmla="*/ 181 w 343"/>
                <a:gd name="T1" fmla="*/ 0 h 385"/>
                <a:gd name="T2" fmla="*/ 289 w 343"/>
                <a:gd name="T3" fmla="*/ 36 h 385"/>
                <a:gd name="T4" fmla="*/ 340 w 343"/>
                <a:gd name="T5" fmla="*/ 132 h 385"/>
                <a:gd name="T6" fmla="*/ 261 w 343"/>
                <a:gd name="T7" fmla="*/ 132 h 385"/>
                <a:gd name="T8" fmla="*/ 234 w 343"/>
                <a:gd name="T9" fmla="*/ 86 h 385"/>
                <a:gd name="T10" fmla="*/ 181 w 343"/>
                <a:gd name="T11" fmla="*/ 68 h 385"/>
                <a:gd name="T12" fmla="*/ 107 w 343"/>
                <a:gd name="T13" fmla="*/ 102 h 385"/>
                <a:gd name="T14" fmla="*/ 81 w 343"/>
                <a:gd name="T15" fmla="*/ 194 h 385"/>
                <a:gd name="T16" fmla="*/ 107 w 343"/>
                <a:gd name="T17" fmla="*/ 284 h 385"/>
                <a:gd name="T18" fmla="*/ 181 w 343"/>
                <a:gd name="T19" fmla="*/ 317 h 385"/>
                <a:gd name="T20" fmla="*/ 238 w 343"/>
                <a:gd name="T21" fmla="*/ 296 h 385"/>
                <a:gd name="T22" fmla="*/ 264 w 343"/>
                <a:gd name="T23" fmla="*/ 235 h 385"/>
                <a:gd name="T24" fmla="*/ 343 w 343"/>
                <a:gd name="T25" fmla="*/ 235 h 385"/>
                <a:gd name="T26" fmla="*/ 293 w 343"/>
                <a:gd name="T27" fmla="*/ 345 h 385"/>
                <a:gd name="T28" fmla="*/ 181 w 343"/>
                <a:gd name="T29" fmla="*/ 385 h 385"/>
                <a:gd name="T30" fmla="*/ 50 w 343"/>
                <a:gd name="T31" fmla="*/ 332 h 385"/>
                <a:gd name="T32" fmla="*/ 0 w 343"/>
                <a:gd name="T33" fmla="*/ 194 h 385"/>
                <a:gd name="T34" fmla="*/ 49 w 343"/>
                <a:gd name="T35" fmla="*/ 54 h 385"/>
                <a:gd name="T36" fmla="*/ 181 w 343"/>
                <a:gd name="T37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3" h="385">
                  <a:moveTo>
                    <a:pt x="181" y="0"/>
                  </a:moveTo>
                  <a:cubicBezTo>
                    <a:pt x="224" y="0"/>
                    <a:pt x="260" y="12"/>
                    <a:pt x="289" y="36"/>
                  </a:cubicBezTo>
                  <a:cubicBezTo>
                    <a:pt x="318" y="60"/>
                    <a:pt x="335" y="92"/>
                    <a:pt x="340" y="132"/>
                  </a:cubicBezTo>
                  <a:cubicBezTo>
                    <a:pt x="261" y="132"/>
                    <a:pt x="261" y="132"/>
                    <a:pt x="261" y="132"/>
                  </a:cubicBezTo>
                  <a:cubicBezTo>
                    <a:pt x="259" y="114"/>
                    <a:pt x="249" y="99"/>
                    <a:pt x="234" y="86"/>
                  </a:cubicBezTo>
                  <a:cubicBezTo>
                    <a:pt x="219" y="74"/>
                    <a:pt x="201" y="68"/>
                    <a:pt x="181" y="68"/>
                  </a:cubicBezTo>
                  <a:cubicBezTo>
                    <a:pt x="149" y="68"/>
                    <a:pt x="125" y="79"/>
                    <a:pt x="107" y="102"/>
                  </a:cubicBezTo>
                  <a:cubicBezTo>
                    <a:pt x="90" y="124"/>
                    <a:pt x="81" y="155"/>
                    <a:pt x="81" y="194"/>
                  </a:cubicBezTo>
                  <a:cubicBezTo>
                    <a:pt x="81" y="232"/>
                    <a:pt x="90" y="262"/>
                    <a:pt x="107" y="284"/>
                  </a:cubicBezTo>
                  <a:cubicBezTo>
                    <a:pt x="125" y="306"/>
                    <a:pt x="150" y="317"/>
                    <a:pt x="181" y="317"/>
                  </a:cubicBezTo>
                  <a:cubicBezTo>
                    <a:pt x="204" y="317"/>
                    <a:pt x="223" y="310"/>
                    <a:pt x="238" y="296"/>
                  </a:cubicBezTo>
                  <a:cubicBezTo>
                    <a:pt x="252" y="282"/>
                    <a:pt x="261" y="261"/>
                    <a:pt x="264" y="235"/>
                  </a:cubicBezTo>
                  <a:cubicBezTo>
                    <a:pt x="343" y="235"/>
                    <a:pt x="343" y="235"/>
                    <a:pt x="343" y="235"/>
                  </a:cubicBezTo>
                  <a:cubicBezTo>
                    <a:pt x="339" y="281"/>
                    <a:pt x="322" y="318"/>
                    <a:pt x="293" y="345"/>
                  </a:cubicBezTo>
                  <a:cubicBezTo>
                    <a:pt x="263" y="372"/>
                    <a:pt x="226" y="385"/>
                    <a:pt x="181" y="385"/>
                  </a:cubicBezTo>
                  <a:cubicBezTo>
                    <a:pt x="127" y="385"/>
                    <a:pt x="83" y="368"/>
                    <a:pt x="50" y="332"/>
                  </a:cubicBezTo>
                  <a:cubicBezTo>
                    <a:pt x="17" y="296"/>
                    <a:pt x="0" y="250"/>
                    <a:pt x="0" y="194"/>
                  </a:cubicBezTo>
                  <a:cubicBezTo>
                    <a:pt x="0" y="137"/>
                    <a:pt x="16" y="90"/>
                    <a:pt x="49" y="54"/>
                  </a:cubicBezTo>
                  <a:cubicBezTo>
                    <a:pt x="82" y="18"/>
                    <a:pt x="126" y="0"/>
                    <a:pt x="18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944688" y="661988"/>
              <a:ext cx="136525" cy="180975"/>
            </a:xfrm>
            <a:custGeom>
              <a:avLst/>
              <a:gdLst>
                <a:gd name="T0" fmla="*/ 79 w 274"/>
                <a:gd name="T1" fmla="*/ 0 h 360"/>
                <a:gd name="T2" fmla="*/ 139 w 274"/>
                <a:gd name="T3" fmla="*/ 182 h 360"/>
                <a:gd name="T4" fmla="*/ 140 w 274"/>
                <a:gd name="T5" fmla="*/ 182 h 360"/>
                <a:gd name="T6" fmla="*/ 198 w 274"/>
                <a:gd name="T7" fmla="*/ 0 h 360"/>
                <a:gd name="T8" fmla="*/ 274 w 274"/>
                <a:gd name="T9" fmla="*/ 0 h 360"/>
                <a:gd name="T10" fmla="*/ 163 w 274"/>
                <a:gd name="T11" fmla="*/ 300 h 360"/>
                <a:gd name="T12" fmla="*/ 130 w 274"/>
                <a:gd name="T13" fmla="*/ 346 h 360"/>
                <a:gd name="T14" fmla="*/ 72 w 274"/>
                <a:gd name="T15" fmla="*/ 360 h 360"/>
                <a:gd name="T16" fmla="*/ 26 w 274"/>
                <a:gd name="T17" fmla="*/ 358 h 360"/>
                <a:gd name="T18" fmla="*/ 26 w 274"/>
                <a:gd name="T19" fmla="*/ 297 h 360"/>
                <a:gd name="T20" fmla="*/ 65 w 274"/>
                <a:gd name="T21" fmla="*/ 300 h 360"/>
                <a:gd name="T22" fmla="*/ 89 w 274"/>
                <a:gd name="T23" fmla="*/ 291 h 360"/>
                <a:gd name="T24" fmla="*/ 97 w 274"/>
                <a:gd name="T25" fmla="*/ 267 h 360"/>
                <a:gd name="T26" fmla="*/ 94 w 274"/>
                <a:gd name="T27" fmla="*/ 250 h 360"/>
                <a:gd name="T28" fmla="*/ 0 w 274"/>
                <a:gd name="T29" fmla="*/ 0 h 360"/>
                <a:gd name="T30" fmla="*/ 79 w 274"/>
                <a:gd name="T3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4" h="360">
                  <a:moveTo>
                    <a:pt x="79" y="0"/>
                  </a:moveTo>
                  <a:cubicBezTo>
                    <a:pt x="139" y="182"/>
                    <a:pt x="139" y="182"/>
                    <a:pt x="139" y="182"/>
                  </a:cubicBezTo>
                  <a:cubicBezTo>
                    <a:pt x="140" y="182"/>
                    <a:pt x="140" y="182"/>
                    <a:pt x="140" y="182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163" y="300"/>
                    <a:pt x="163" y="300"/>
                    <a:pt x="163" y="300"/>
                  </a:cubicBezTo>
                  <a:cubicBezTo>
                    <a:pt x="155" y="321"/>
                    <a:pt x="144" y="336"/>
                    <a:pt x="130" y="346"/>
                  </a:cubicBezTo>
                  <a:cubicBezTo>
                    <a:pt x="116" y="356"/>
                    <a:pt x="97" y="360"/>
                    <a:pt x="72" y="360"/>
                  </a:cubicBezTo>
                  <a:cubicBezTo>
                    <a:pt x="61" y="360"/>
                    <a:pt x="46" y="360"/>
                    <a:pt x="26" y="358"/>
                  </a:cubicBezTo>
                  <a:cubicBezTo>
                    <a:pt x="26" y="297"/>
                    <a:pt x="26" y="297"/>
                    <a:pt x="26" y="297"/>
                  </a:cubicBezTo>
                  <a:cubicBezTo>
                    <a:pt x="39" y="299"/>
                    <a:pt x="52" y="300"/>
                    <a:pt x="65" y="300"/>
                  </a:cubicBezTo>
                  <a:cubicBezTo>
                    <a:pt x="75" y="300"/>
                    <a:pt x="83" y="297"/>
                    <a:pt x="89" y="291"/>
                  </a:cubicBezTo>
                  <a:cubicBezTo>
                    <a:pt x="94" y="284"/>
                    <a:pt x="97" y="276"/>
                    <a:pt x="97" y="267"/>
                  </a:cubicBezTo>
                  <a:cubicBezTo>
                    <a:pt x="97" y="261"/>
                    <a:pt x="96" y="256"/>
                    <a:pt x="94" y="25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2093913" y="611188"/>
              <a:ext cx="136525" cy="188913"/>
            </a:xfrm>
            <a:custGeom>
              <a:avLst/>
              <a:gdLst>
                <a:gd name="T0" fmla="*/ 73 w 269"/>
                <a:gd name="T1" fmla="*/ 0 h 376"/>
                <a:gd name="T2" fmla="*/ 73 w 269"/>
                <a:gd name="T3" fmla="*/ 134 h 376"/>
                <a:gd name="T4" fmla="*/ 74 w 269"/>
                <a:gd name="T5" fmla="*/ 134 h 376"/>
                <a:gd name="T6" fmla="*/ 108 w 269"/>
                <a:gd name="T7" fmla="*/ 106 h 376"/>
                <a:gd name="T8" fmla="*/ 158 w 269"/>
                <a:gd name="T9" fmla="*/ 95 h 376"/>
                <a:gd name="T10" fmla="*/ 238 w 269"/>
                <a:gd name="T11" fmla="*/ 134 h 376"/>
                <a:gd name="T12" fmla="*/ 269 w 269"/>
                <a:gd name="T13" fmla="*/ 235 h 376"/>
                <a:gd name="T14" fmla="*/ 238 w 269"/>
                <a:gd name="T15" fmla="*/ 337 h 376"/>
                <a:gd name="T16" fmla="*/ 158 w 269"/>
                <a:gd name="T17" fmla="*/ 376 h 376"/>
                <a:gd name="T18" fmla="*/ 71 w 269"/>
                <a:gd name="T19" fmla="*/ 334 h 376"/>
                <a:gd name="T20" fmla="*/ 70 w 269"/>
                <a:gd name="T21" fmla="*/ 334 h 376"/>
                <a:gd name="T22" fmla="*/ 70 w 269"/>
                <a:gd name="T23" fmla="*/ 369 h 376"/>
                <a:gd name="T24" fmla="*/ 0 w 269"/>
                <a:gd name="T25" fmla="*/ 369 h 376"/>
                <a:gd name="T26" fmla="*/ 0 w 269"/>
                <a:gd name="T27" fmla="*/ 0 h 376"/>
                <a:gd name="T28" fmla="*/ 73 w 269"/>
                <a:gd name="T29" fmla="*/ 0 h 376"/>
                <a:gd name="T30" fmla="*/ 71 w 269"/>
                <a:gd name="T31" fmla="*/ 235 h 376"/>
                <a:gd name="T32" fmla="*/ 88 w 269"/>
                <a:gd name="T33" fmla="*/ 297 h 376"/>
                <a:gd name="T34" fmla="*/ 133 w 269"/>
                <a:gd name="T35" fmla="*/ 321 h 376"/>
                <a:gd name="T36" fmla="*/ 178 w 269"/>
                <a:gd name="T37" fmla="*/ 298 h 376"/>
                <a:gd name="T38" fmla="*/ 195 w 269"/>
                <a:gd name="T39" fmla="*/ 235 h 376"/>
                <a:gd name="T40" fmla="*/ 179 w 269"/>
                <a:gd name="T41" fmla="*/ 173 h 376"/>
                <a:gd name="T42" fmla="*/ 132 w 269"/>
                <a:gd name="T43" fmla="*/ 150 h 376"/>
                <a:gd name="T44" fmla="*/ 87 w 269"/>
                <a:gd name="T45" fmla="*/ 174 h 376"/>
                <a:gd name="T46" fmla="*/ 71 w 269"/>
                <a:gd name="T47" fmla="*/ 23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376">
                  <a:moveTo>
                    <a:pt x="73" y="0"/>
                  </a:moveTo>
                  <a:cubicBezTo>
                    <a:pt x="73" y="134"/>
                    <a:pt x="73" y="134"/>
                    <a:pt x="73" y="13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82" y="122"/>
                    <a:pt x="93" y="113"/>
                    <a:pt x="108" y="106"/>
                  </a:cubicBezTo>
                  <a:cubicBezTo>
                    <a:pt x="123" y="98"/>
                    <a:pt x="139" y="95"/>
                    <a:pt x="158" y="95"/>
                  </a:cubicBezTo>
                  <a:cubicBezTo>
                    <a:pt x="191" y="95"/>
                    <a:pt x="217" y="108"/>
                    <a:pt x="238" y="134"/>
                  </a:cubicBezTo>
                  <a:cubicBezTo>
                    <a:pt x="258" y="160"/>
                    <a:pt x="269" y="194"/>
                    <a:pt x="269" y="235"/>
                  </a:cubicBezTo>
                  <a:cubicBezTo>
                    <a:pt x="269" y="277"/>
                    <a:pt x="258" y="310"/>
                    <a:pt x="238" y="337"/>
                  </a:cubicBezTo>
                  <a:cubicBezTo>
                    <a:pt x="218" y="363"/>
                    <a:pt x="191" y="376"/>
                    <a:pt x="158" y="376"/>
                  </a:cubicBezTo>
                  <a:cubicBezTo>
                    <a:pt x="114" y="376"/>
                    <a:pt x="85" y="362"/>
                    <a:pt x="71" y="334"/>
                  </a:cubicBezTo>
                  <a:cubicBezTo>
                    <a:pt x="70" y="334"/>
                    <a:pt x="70" y="334"/>
                    <a:pt x="70" y="334"/>
                  </a:cubicBezTo>
                  <a:cubicBezTo>
                    <a:pt x="70" y="369"/>
                    <a:pt x="70" y="369"/>
                    <a:pt x="70" y="369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3" y="0"/>
                  </a:lnTo>
                  <a:close/>
                  <a:moveTo>
                    <a:pt x="71" y="235"/>
                  </a:moveTo>
                  <a:cubicBezTo>
                    <a:pt x="71" y="261"/>
                    <a:pt x="76" y="282"/>
                    <a:pt x="88" y="297"/>
                  </a:cubicBezTo>
                  <a:cubicBezTo>
                    <a:pt x="99" y="313"/>
                    <a:pt x="114" y="321"/>
                    <a:pt x="133" y="321"/>
                  </a:cubicBezTo>
                  <a:cubicBezTo>
                    <a:pt x="152" y="321"/>
                    <a:pt x="167" y="313"/>
                    <a:pt x="178" y="298"/>
                  </a:cubicBezTo>
                  <a:cubicBezTo>
                    <a:pt x="190" y="283"/>
                    <a:pt x="195" y="262"/>
                    <a:pt x="195" y="235"/>
                  </a:cubicBezTo>
                  <a:cubicBezTo>
                    <a:pt x="195" y="209"/>
                    <a:pt x="190" y="189"/>
                    <a:pt x="179" y="173"/>
                  </a:cubicBezTo>
                  <a:cubicBezTo>
                    <a:pt x="167" y="158"/>
                    <a:pt x="152" y="150"/>
                    <a:pt x="132" y="150"/>
                  </a:cubicBezTo>
                  <a:cubicBezTo>
                    <a:pt x="113" y="150"/>
                    <a:pt x="98" y="158"/>
                    <a:pt x="87" y="174"/>
                  </a:cubicBezTo>
                  <a:cubicBezTo>
                    <a:pt x="76" y="189"/>
                    <a:pt x="71" y="210"/>
                    <a:pt x="71" y="2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2246313" y="658813"/>
              <a:ext cx="133350" cy="141288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49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8 w 266"/>
                <a:gd name="T25" fmla="*/ 265 h 281"/>
                <a:gd name="T26" fmla="*/ 19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2 w 266"/>
                <a:gd name="T37" fmla="*/ 112 h 281"/>
                <a:gd name="T38" fmla="*/ 173 w 266"/>
                <a:gd name="T39" fmla="*/ 68 h 281"/>
                <a:gd name="T40" fmla="*/ 134 w 266"/>
                <a:gd name="T41" fmla="*/ 55 h 281"/>
                <a:gd name="T42" fmla="*/ 91 w 266"/>
                <a:gd name="T43" fmla="*/ 70 h 281"/>
                <a:gd name="T44" fmla="*/ 73 w 266"/>
                <a:gd name="T45" fmla="*/ 112 h 281"/>
                <a:gd name="T46" fmla="*/ 192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4" y="6"/>
                    <a:pt x="203" y="17"/>
                  </a:cubicBezTo>
                  <a:cubicBezTo>
                    <a:pt x="223" y="29"/>
                    <a:pt x="238" y="46"/>
                    <a:pt x="249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2"/>
                    <a:pt x="175" y="216"/>
                  </a:cubicBezTo>
                  <a:cubicBezTo>
                    <a:pt x="186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0"/>
                    <a:pt x="89" y="275"/>
                    <a:pt x="68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6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2" y="112"/>
                  </a:moveTo>
                  <a:cubicBezTo>
                    <a:pt x="189" y="92"/>
                    <a:pt x="183" y="77"/>
                    <a:pt x="173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1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3" name="Freeform 15"/>
            <p:cNvSpPr>
              <a:spLocks/>
            </p:cNvSpPr>
            <p:nvPr userDrawn="1"/>
          </p:nvSpPr>
          <p:spPr bwMode="auto">
            <a:xfrm>
              <a:off x="2401888" y="658813"/>
              <a:ext cx="85725" cy="138113"/>
            </a:xfrm>
            <a:custGeom>
              <a:avLst/>
              <a:gdLst>
                <a:gd name="T0" fmla="*/ 156 w 172"/>
                <a:gd name="T1" fmla="*/ 0 h 274"/>
                <a:gd name="T2" fmla="*/ 172 w 172"/>
                <a:gd name="T3" fmla="*/ 2 h 274"/>
                <a:gd name="T4" fmla="*/ 172 w 172"/>
                <a:gd name="T5" fmla="*/ 70 h 274"/>
                <a:gd name="T6" fmla="*/ 145 w 172"/>
                <a:gd name="T7" fmla="*/ 68 h 274"/>
                <a:gd name="T8" fmla="*/ 73 w 172"/>
                <a:gd name="T9" fmla="*/ 153 h 274"/>
                <a:gd name="T10" fmla="*/ 73 w 172"/>
                <a:gd name="T11" fmla="*/ 274 h 274"/>
                <a:gd name="T12" fmla="*/ 0 w 172"/>
                <a:gd name="T13" fmla="*/ 274 h 274"/>
                <a:gd name="T14" fmla="*/ 0 w 172"/>
                <a:gd name="T15" fmla="*/ 7 h 274"/>
                <a:gd name="T16" fmla="*/ 70 w 172"/>
                <a:gd name="T17" fmla="*/ 7 h 274"/>
                <a:gd name="T18" fmla="*/ 70 w 172"/>
                <a:gd name="T19" fmla="*/ 56 h 274"/>
                <a:gd name="T20" fmla="*/ 71 w 172"/>
                <a:gd name="T21" fmla="*/ 56 h 274"/>
                <a:gd name="T22" fmla="*/ 105 w 172"/>
                <a:gd name="T23" fmla="*/ 15 h 274"/>
                <a:gd name="T24" fmla="*/ 156 w 172"/>
                <a:gd name="T2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74">
                  <a:moveTo>
                    <a:pt x="156" y="0"/>
                  </a:moveTo>
                  <a:cubicBezTo>
                    <a:pt x="162" y="0"/>
                    <a:pt x="167" y="1"/>
                    <a:pt x="172" y="2"/>
                  </a:cubicBezTo>
                  <a:cubicBezTo>
                    <a:pt x="172" y="70"/>
                    <a:pt x="172" y="70"/>
                    <a:pt x="172" y="70"/>
                  </a:cubicBezTo>
                  <a:cubicBezTo>
                    <a:pt x="164" y="69"/>
                    <a:pt x="155" y="68"/>
                    <a:pt x="145" y="68"/>
                  </a:cubicBezTo>
                  <a:cubicBezTo>
                    <a:pt x="97" y="68"/>
                    <a:pt x="73" y="96"/>
                    <a:pt x="73" y="153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8" y="39"/>
                    <a:pt x="89" y="25"/>
                    <a:pt x="105" y="15"/>
                  </a:cubicBezTo>
                  <a:cubicBezTo>
                    <a:pt x="121" y="5"/>
                    <a:pt x="138" y="0"/>
                    <a:pt x="1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4" name="Freeform 16"/>
            <p:cNvSpPr>
              <a:spLocks noEditPoints="1"/>
            </p:cNvSpPr>
            <p:nvPr userDrawn="1"/>
          </p:nvSpPr>
          <p:spPr bwMode="auto">
            <a:xfrm>
              <a:off x="2493963" y="611188"/>
              <a:ext cx="136525" cy="188913"/>
            </a:xfrm>
            <a:custGeom>
              <a:avLst/>
              <a:gdLst>
                <a:gd name="T0" fmla="*/ 271 w 271"/>
                <a:gd name="T1" fmla="*/ 0 h 376"/>
                <a:gd name="T2" fmla="*/ 271 w 271"/>
                <a:gd name="T3" fmla="*/ 369 h 376"/>
                <a:gd name="T4" fmla="*/ 202 w 271"/>
                <a:gd name="T5" fmla="*/ 369 h 376"/>
                <a:gd name="T6" fmla="*/ 202 w 271"/>
                <a:gd name="T7" fmla="*/ 334 h 376"/>
                <a:gd name="T8" fmla="*/ 201 w 271"/>
                <a:gd name="T9" fmla="*/ 334 h 376"/>
                <a:gd name="T10" fmla="*/ 120 w 271"/>
                <a:gd name="T11" fmla="*/ 376 h 376"/>
                <a:gd name="T12" fmla="*/ 32 w 271"/>
                <a:gd name="T13" fmla="*/ 336 h 376"/>
                <a:gd name="T14" fmla="*/ 0 w 271"/>
                <a:gd name="T15" fmla="*/ 233 h 376"/>
                <a:gd name="T16" fmla="*/ 33 w 271"/>
                <a:gd name="T17" fmla="*/ 133 h 376"/>
                <a:gd name="T18" fmla="*/ 118 w 271"/>
                <a:gd name="T19" fmla="*/ 95 h 376"/>
                <a:gd name="T20" fmla="*/ 164 w 271"/>
                <a:gd name="T21" fmla="*/ 105 h 376"/>
                <a:gd name="T22" fmla="*/ 197 w 271"/>
                <a:gd name="T23" fmla="*/ 134 h 376"/>
                <a:gd name="T24" fmla="*/ 198 w 271"/>
                <a:gd name="T25" fmla="*/ 134 h 376"/>
                <a:gd name="T26" fmla="*/ 198 w 271"/>
                <a:gd name="T27" fmla="*/ 0 h 376"/>
                <a:gd name="T28" fmla="*/ 271 w 271"/>
                <a:gd name="T29" fmla="*/ 0 h 376"/>
                <a:gd name="T30" fmla="*/ 73 w 271"/>
                <a:gd name="T31" fmla="*/ 235 h 376"/>
                <a:gd name="T32" fmla="*/ 91 w 271"/>
                <a:gd name="T33" fmla="*/ 296 h 376"/>
                <a:gd name="T34" fmla="*/ 138 w 271"/>
                <a:gd name="T35" fmla="*/ 321 h 376"/>
                <a:gd name="T36" fmla="*/ 185 w 271"/>
                <a:gd name="T37" fmla="*/ 298 h 376"/>
                <a:gd name="T38" fmla="*/ 201 w 271"/>
                <a:gd name="T39" fmla="*/ 234 h 376"/>
                <a:gd name="T40" fmla="*/ 184 w 271"/>
                <a:gd name="T41" fmla="*/ 172 h 376"/>
                <a:gd name="T42" fmla="*/ 137 w 271"/>
                <a:gd name="T43" fmla="*/ 150 h 376"/>
                <a:gd name="T44" fmla="*/ 90 w 271"/>
                <a:gd name="T45" fmla="*/ 173 h 376"/>
                <a:gd name="T46" fmla="*/ 73 w 271"/>
                <a:gd name="T47" fmla="*/ 23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1" h="376">
                  <a:moveTo>
                    <a:pt x="271" y="0"/>
                  </a:moveTo>
                  <a:cubicBezTo>
                    <a:pt x="271" y="369"/>
                    <a:pt x="271" y="369"/>
                    <a:pt x="271" y="369"/>
                  </a:cubicBezTo>
                  <a:cubicBezTo>
                    <a:pt x="202" y="369"/>
                    <a:pt x="202" y="369"/>
                    <a:pt x="202" y="369"/>
                  </a:cubicBezTo>
                  <a:cubicBezTo>
                    <a:pt x="202" y="334"/>
                    <a:pt x="202" y="334"/>
                    <a:pt x="202" y="334"/>
                  </a:cubicBezTo>
                  <a:cubicBezTo>
                    <a:pt x="201" y="334"/>
                    <a:pt x="201" y="334"/>
                    <a:pt x="201" y="334"/>
                  </a:cubicBezTo>
                  <a:cubicBezTo>
                    <a:pt x="185" y="362"/>
                    <a:pt x="158" y="376"/>
                    <a:pt x="120" y="376"/>
                  </a:cubicBezTo>
                  <a:cubicBezTo>
                    <a:pt x="83" y="376"/>
                    <a:pt x="54" y="362"/>
                    <a:pt x="32" y="336"/>
                  </a:cubicBezTo>
                  <a:cubicBezTo>
                    <a:pt x="11" y="309"/>
                    <a:pt x="0" y="274"/>
                    <a:pt x="0" y="233"/>
                  </a:cubicBezTo>
                  <a:cubicBezTo>
                    <a:pt x="0" y="192"/>
                    <a:pt x="11" y="159"/>
                    <a:pt x="33" y="133"/>
                  </a:cubicBezTo>
                  <a:cubicBezTo>
                    <a:pt x="55" y="108"/>
                    <a:pt x="83" y="95"/>
                    <a:pt x="118" y="95"/>
                  </a:cubicBezTo>
                  <a:cubicBezTo>
                    <a:pt x="134" y="95"/>
                    <a:pt x="150" y="98"/>
                    <a:pt x="164" y="105"/>
                  </a:cubicBezTo>
                  <a:cubicBezTo>
                    <a:pt x="178" y="111"/>
                    <a:pt x="189" y="121"/>
                    <a:pt x="197" y="134"/>
                  </a:cubicBezTo>
                  <a:cubicBezTo>
                    <a:pt x="198" y="134"/>
                    <a:pt x="198" y="134"/>
                    <a:pt x="198" y="134"/>
                  </a:cubicBezTo>
                  <a:cubicBezTo>
                    <a:pt x="198" y="0"/>
                    <a:pt x="198" y="0"/>
                    <a:pt x="198" y="0"/>
                  </a:cubicBezTo>
                  <a:lnTo>
                    <a:pt x="271" y="0"/>
                  </a:lnTo>
                  <a:close/>
                  <a:moveTo>
                    <a:pt x="73" y="235"/>
                  </a:moveTo>
                  <a:cubicBezTo>
                    <a:pt x="73" y="259"/>
                    <a:pt x="79" y="280"/>
                    <a:pt x="91" y="296"/>
                  </a:cubicBezTo>
                  <a:cubicBezTo>
                    <a:pt x="102" y="312"/>
                    <a:pt x="118" y="321"/>
                    <a:pt x="138" y="321"/>
                  </a:cubicBezTo>
                  <a:cubicBezTo>
                    <a:pt x="159" y="321"/>
                    <a:pt x="175" y="313"/>
                    <a:pt x="185" y="298"/>
                  </a:cubicBezTo>
                  <a:cubicBezTo>
                    <a:pt x="196" y="282"/>
                    <a:pt x="201" y="261"/>
                    <a:pt x="201" y="234"/>
                  </a:cubicBezTo>
                  <a:cubicBezTo>
                    <a:pt x="201" y="208"/>
                    <a:pt x="195" y="187"/>
                    <a:pt x="184" y="172"/>
                  </a:cubicBezTo>
                  <a:cubicBezTo>
                    <a:pt x="173" y="157"/>
                    <a:pt x="158" y="150"/>
                    <a:pt x="137" y="150"/>
                  </a:cubicBezTo>
                  <a:cubicBezTo>
                    <a:pt x="116" y="150"/>
                    <a:pt x="100" y="158"/>
                    <a:pt x="90" y="173"/>
                  </a:cubicBezTo>
                  <a:cubicBezTo>
                    <a:pt x="79" y="189"/>
                    <a:pt x="73" y="209"/>
                    <a:pt x="73" y="2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5" name="Freeform 17"/>
            <p:cNvSpPr>
              <a:spLocks noEditPoints="1"/>
            </p:cNvSpPr>
            <p:nvPr userDrawn="1"/>
          </p:nvSpPr>
          <p:spPr bwMode="auto">
            <a:xfrm>
              <a:off x="2652713" y="658813"/>
              <a:ext cx="133350" cy="141288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49 w 266"/>
                <a:gd name="T5" fmla="*/ 68 h 281"/>
                <a:gd name="T6" fmla="*/ 266 w 266"/>
                <a:gd name="T7" fmla="*/ 145 h 281"/>
                <a:gd name="T8" fmla="*/ 265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6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8 w 266"/>
                <a:gd name="T25" fmla="*/ 265 h 281"/>
                <a:gd name="T26" fmla="*/ 18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2 w 266"/>
                <a:gd name="T37" fmla="*/ 112 h 281"/>
                <a:gd name="T38" fmla="*/ 173 w 266"/>
                <a:gd name="T39" fmla="*/ 68 h 281"/>
                <a:gd name="T40" fmla="*/ 133 w 266"/>
                <a:gd name="T41" fmla="*/ 55 h 281"/>
                <a:gd name="T42" fmla="*/ 91 w 266"/>
                <a:gd name="T43" fmla="*/ 70 h 281"/>
                <a:gd name="T44" fmla="*/ 73 w 266"/>
                <a:gd name="T45" fmla="*/ 112 h 281"/>
                <a:gd name="T46" fmla="*/ 192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3" y="6"/>
                    <a:pt x="203" y="17"/>
                  </a:cubicBezTo>
                  <a:cubicBezTo>
                    <a:pt x="223" y="29"/>
                    <a:pt x="238" y="46"/>
                    <a:pt x="249" y="68"/>
                  </a:cubicBezTo>
                  <a:cubicBezTo>
                    <a:pt x="260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5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79" y="196"/>
                    <a:pt x="90" y="208"/>
                  </a:cubicBezTo>
                  <a:cubicBezTo>
                    <a:pt x="100" y="220"/>
                    <a:pt x="116" y="226"/>
                    <a:pt x="138" y="226"/>
                  </a:cubicBezTo>
                  <a:cubicBezTo>
                    <a:pt x="151" y="226"/>
                    <a:pt x="164" y="222"/>
                    <a:pt x="175" y="216"/>
                  </a:cubicBezTo>
                  <a:cubicBezTo>
                    <a:pt x="186" y="209"/>
                    <a:pt x="193" y="201"/>
                    <a:pt x="196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0" y="281"/>
                    <a:pt x="136" y="281"/>
                  </a:cubicBezTo>
                  <a:cubicBezTo>
                    <a:pt x="111" y="280"/>
                    <a:pt x="89" y="275"/>
                    <a:pt x="68" y="265"/>
                  </a:cubicBezTo>
                  <a:cubicBezTo>
                    <a:pt x="47" y="254"/>
                    <a:pt x="31" y="238"/>
                    <a:pt x="18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6" y="89"/>
                    <a:pt x="19" y="66"/>
                  </a:cubicBezTo>
                  <a:cubicBezTo>
                    <a:pt x="31" y="44"/>
                    <a:pt x="48" y="27"/>
                    <a:pt x="69" y="16"/>
                  </a:cubicBezTo>
                  <a:cubicBezTo>
                    <a:pt x="89" y="5"/>
                    <a:pt x="112" y="0"/>
                    <a:pt x="136" y="0"/>
                  </a:cubicBezTo>
                  <a:close/>
                  <a:moveTo>
                    <a:pt x="192" y="112"/>
                  </a:moveTo>
                  <a:cubicBezTo>
                    <a:pt x="189" y="92"/>
                    <a:pt x="182" y="77"/>
                    <a:pt x="173" y="68"/>
                  </a:cubicBezTo>
                  <a:cubicBezTo>
                    <a:pt x="164" y="59"/>
                    <a:pt x="150" y="55"/>
                    <a:pt x="133" y="55"/>
                  </a:cubicBezTo>
                  <a:cubicBezTo>
                    <a:pt x="115" y="55"/>
                    <a:pt x="101" y="60"/>
                    <a:pt x="91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6" name="Freeform 18"/>
            <p:cNvSpPr>
              <a:spLocks/>
            </p:cNvSpPr>
            <p:nvPr userDrawn="1"/>
          </p:nvSpPr>
          <p:spPr bwMode="auto">
            <a:xfrm>
              <a:off x="2794001" y="611188"/>
              <a:ext cx="85725" cy="185738"/>
            </a:xfrm>
            <a:custGeom>
              <a:avLst/>
              <a:gdLst>
                <a:gd name="T0" fmla="*/ 133 w 172"/>
                <a:gd name="T1" fmla="*/ 0 h 369"/>
                <a:gd name="T2" fmla="*/ 172 w 172"/>
                <a:gd name="T3" fmla="*/ 2 h 369"/>
                <a:gd name="T4" fmla="*/ 172 w 172"/>
                <a:gd name="T5" fmla="*/ 57 h 369"/>
                <a:gd name="T6" fmla="*/ 145 w 172"/>
                <a:gd name="T7" fmla="*/ 55 h 369"/>
                <a:gd name="T8" fmla="*/ 123 w 172"/>
                <a:gd name="T9" fmla="*/ 62 h 369"/>
                <a:gd name="T10" fmla="*/ 117 w 172"/>
                <a:gd name="T11" fmla="*/ 86 h 369"/>
                <a:gd name="T12" fmla="*/ 117 w 172"/>
                <a:gd name="T13" fmla="*/ 102 h 369"/>
                <a:gd name="T14" fmla="*/ 167 w 172"/>
                <a:gd name="T15" fmla="*/ 102 h 369"/>
                <a:gd name="T16" fmla="*/ 167 w 172"/>
                <a:gd name="T17" fmla="*/ 151 h 369"/>
                <a:gd name="T18" fmla="*/ 117 w 172"/>
                <a:gd name="T19" fmla="*/ 151 h 369"/>
                <a:gd name="T20" fmla="*/ 117 w 172"/>
                <a:gd name="T21" fmla="*/ 369 h 369"/>
                <a:gd name="T22" fmla="*/ 44 w 172"/>
                <a:gd name="T23" fmla="*/ 369 h 369"/>
                <a:gd name="T24" fmla="*/ 44 w 172"/>
                <a:gd name="T25" fmla="*/ 151 h 369"/>
                <a:gd name="T26" fmla="*/ 0 w 172"/>
                <a:gd name="T27" fmla="*/ 151 h 369"/>
                <a:gd name="T28" fmla="*/ 0 w 172"/>
                <a:gd name="T29" fmla="*/ 102 h 369"/>
                <a:gd name="T30" fmla="*/ 44 w 172"/>
                <a:gd name="T31" fmla="*/ 102 h 369"/>
                <a:gd name="T32" fmla="*/ 44 w 172"/>
                <a:gd name="T33" fmla="*/ 82 h 369"/>
                <a:gd name="T34" fmla="*/ 67 w 172"/>
                <a:gd name="T35" fmla="*/ 22 h 369"/>
                <a:gd name="T36" fmla="*/ 133 w 172"/>
                <a:gd name="T37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2" h="369">
                  <a:moveTo>
                    <a:pt x="133" y="0"/>
                  </a:moveTo>
                  <a:cubicBezTo>
                    <a:pt x="139" y="0"/>
                    <a:pt x="152" y="1"/>
                    <a:pt x="172" y="2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2" y="56"/>
                    <a:pt x="153" y="55"/>
                    <a:pt x="145" y="55"/>
                  </a:cubicBezTo>
                  <a:cubicBezTo>
                    <a:pt x="135" y="55"/>
                    <a:pt x="127" y="58"/>
                    <a:pt x="123" y="62"/>
                  </a:cubicBezTo>
                  <a:cubicBezTo>
                    <a:pt x="119" y="67"/>
                    <a:pt x="117" y="75"/>
                    <a:pt x="117" y="86"/>
                  </a:cubicBezTo>
                  <a:cubicBezTo>
                    <a:pt x="117" y="102"/>
                    <a:pt x="117" y="102"/>
                    <a:pt x="117" y="102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151"/>
                    <a:pt x="167" y="151"/>
                    <a:pt x="167" y="151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7" y="369"/>
                    <a:pt x="117" y="369"/>
                    <a:pt x="117" y="369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56"/>
                    <a:pt x="51" y="36"/>
                    <a:pt x="67" y="22"/>
                  </a:cubicBezTo>
                  <a:cubicBezTo>
                    <a:pt x="83" y="7"/>
                    <a:pt x="105" y="0"/>
                    <a:pt x="13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7" name="Freeform 19"/>
            <p:cNvSpPr>
              <a:spLocks noEditPoints="1"/>
            </p:cNvSpPr>
            <p:nvPr userDrawn="1"/>
          </p:nvSpPr>
          <p:spPr bwMode="auto">
            <a:xfrm>
              <a:off x="2887663" y="658813"/>
              <a:ext cx="133350" cy="141288"/>
            </a:xfrm>
            <a:custGeom>
              <a:avLst/>
              <a:gdLst>
                <a:gd name="T0" fmla="*/ 137 w 267"/>
                <a:gd name="T1" fmla="*/ 0 h 281"/>
                <a:gd name="T2" fmla="*/ 204 w 267"/>
                <a:gd name="T3" fmla="*/ 17 h 281"/>
                <a:gd name="T4" fmla="*/ 250 w 267"/>
                <a:gd name="T5" fmla="*/ 68 h 281"/>
                <a:gd name="T6" fmla="*/ 267 w 267"/>
                <a:gd name="T7" fmla="*/ 145 h 281"/>
                <a:gd name="T8" fmla="*/ 266 w 267"/>
                <a:gd name="T9" fmla="*/ 158 h 281"/>
                <a:gd name="T10" fmla="*/ 74 w 267"/>
                <a:gd name="T11" fmla="*/ 158 h 281"/>
                <a:gd name="T12" fmla="*/ 90 w 267"/>
                <a:gd name="T13" fmla="*/ 208 h 281"/>
                <a:gd name="T14" fmla="*/ 139 w 267"/>
                <a:gd name="T15" fmla="*/ 226 h 281"/>
                <a:gd name="T16" fmla="*/ 176 w 267"/>
                <a:gd name="T17" fmla="*/ 216 h 281"/>
                <a:gd name="T18" fmla="*/ 197 w 267"/>
                <a:gd name="T19" fmla="*/ 191 h 281"/>
                <a:gd name="T20" fmla="*/ 261 w 267"/>
                <a:gd name="T21" fmla="*/ 191 h 281"/>
                <a:gd name="T22" fmla="*/ 137 w 267"/>
                <a:gd name="T23" fmla="*/ 281 h 281"/>
                <a:gd name="T24" fmla="*/ 69 w 267"/>
                <a:gd name="T25" fmla="*/ 265 h 281"/>
                <a:gd name="T26" fmla="*/ 19 w 267"/>
                <a:gd name="T27" fmla="*/ 217 h 281"/>
                <a:gd name="T28" fmla="*/ 0 w 267"/>
                <a:gd name="T29" fmla="*/ 140 h 281"/>
                <a:gd name="T30" fmla="*/ 19 w 267"/>
                <a:gd name="T31" fmla="*/ 66 h 281"/>
                <a:gd name="T32" fmla="*/ 69 w 267"/>
                <a:gd name="T33" fmla="*/ 16 h 281"/>
                <a:gd name="T34" fmla="*/ 137 w 267"/>
                <a:gd name="T35" fmla="*/ 0 h 281"/>
                <a:gd name="T36" fmla="*/ 193 w 267"/>
                <a:gd name="T37" fmla="*/ 112 h 281"/>
                <a:gd name="T38" fmla="*/ 174 w 267"/>
                <a:gd name="T39" fmla="*/ 68 h 281"/>
                <a:gd name="T40" fmla="*/ 134 w 267"/>
                <a:gd name="T41" fmla="*/ 55 h 281"/>
                <a:gd name="T42" fmla="*/ 92 w 267"/>
                <a:gd name="T43" fmla="*/ 70 h 281"/>
                <a:gd name="T44" fmla="*/ 74 w 267"/>
                <a:gd name="T45" fmla="*/ 112 h 281"/>
                <a:gd name="T46" fmla="*/ 193 w 267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7" h="281">
                  <a:moveTo>
                    <a:pt x="137" y="0"/>
                  </a:moveTo>
                  <a:cubicBezTo>
                    <a:pt x="162" y="0"/>
                    <a:pt x="184" y="6"/>
                    <a:pt x="204" y="17"/>
                  </a:cubicBezTo>
                  <a:cubicBezTo>
                    <a:pt x="223" y="29"/>
                    <a:pt x="239" y="46"/>
                    <a:pt x="250" y="68"/>
                  </a:cubicBezTo>
                  <a:cubicBezTo>
                    <a:pt x="261" y="90"/>
                    <a:pt x="267" y="116"/>
                    <a:pt x="267" y="145"/>
                  </a:cubicBezTo>
                  <a:cubicBezTo>
                    <a:pt x="267" y="147"/>
                    <a:pt x="266" y="152"/>
                    <a:pt x="266" y="158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9" y="226"/>
                  </a:cubicBezTo>
                  <a:cubicBezTo>
                    <a:pt x="152" y="226"/>
                    <a:pt x="164" y="222"/>
                    <a:pt x="176" y="216"/>
                  </a:cubicBezTo>
                  <a:cubicBezTo>
                    <a:pt x="187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3" y="251"/>
                    <a:pt x="201" y="281"/>
                    <a:pt x="137" y="281"/>
                  </a:cubicBezTo>
                  <a:cubicBezTo>
                    <a:pt x="112" y="280"/>
                    <a:pt x="90" y="275"/>
                    <a:pt x="69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7" y="195"/>
                    <a:pt x="0" y="169"/>
                    <a:pt x="0" y="140"/>
                  </a:cubicBezTo>
                  <a:cubicBezTo>
                    <a:pt x="0" y="113"/>
                    <a:pt x="7" y="89"/>
                    <a:pt x="19" y="66"/>
                  </a:cubicBezTo>
                  <a:cubicBezTo>
                    <a:pt x="32" y="44"/>
                    <a:pt x="49" y="27"/>
                    <a:pt x="69" y="16"/>
                  </a:cubicBezTo>
                  <a:cubicBezTo>
                    <a:pt x="90" y="5"/>
                    <a:pt x="113" y="0"/>
                    <a:pt x="137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7"/>
                    <a:pt x="174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0"/>
                    <a:pt x="75" y="94"/>
                    <a:pt x="74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8" name="Freeform 20"/>
            <p:cNvSpPr>
              <a:spLocks/>
            </p:cNvSpPr>
            <p:nvPr userDrawn="1"/>
          </p:nvSpPr>
          <p:spPr bwMode="auto">
            <a:xfrm>
              <a:off x="3041651" y="658813"/>
              <a:ext cx="127000" cy="138113"/>
            </a:xfrm>
            <a:custGeom>
              <a:avLst/>
              <a:gdLst>
                <a:gd name="T0" fmla="*/ 154 w 251"/>
                <a:gd name="T1" fmla="*/ 0 h 274"/>
                <a:gd name="T2" fmla="*/ 228 w 251"/>
                <a:gd name="T3" fmla="*/ 25 h 274"/>
                <a:gd name="T4" fmla="*/ 251 w 251"/>
                <a:gd name="T5" fmla="*/ 107 h 274"/>
                <a:gd name="T6" fmla="*/ 251 w 251"/>
                <a:gd name="T7" fmla="*/ 274 h 274"/>
                <a:gd name="T8" fmla="*/ 177 w 251"/>
                <a:gd name="T9" fmla="*/ 274 h 274"/>
                <a:gd name="T10" fmla="*/ 177 w 251"/>
                <a:gd name="T11" fmla="*/ 122 h 274"/>
                <a:gd name="T12" fmla="*/ 167 w 251"/>
                <a:gd name="T13" fmla="*/ 73 h 274"/>
                <a:gd name="T14" fmla="*/ 130 w 251"/>
                <a:gd name="T15" fmla="*/ 57 h 274"/>
                <a:gd name="T16" fmla="*/ 87 w 251"/>
                <a:gd name="T17" fmla="*/ 75 h 274"/>
                <a:gd name="T18" fmla="*/ 74 w 251"/>
                <a:gd name="T19" fmla="*/ 135 h 274"/>
                <a:gd name="T20" fmla="*/ 74 w 251"/>
                <a:gd name="T21" fmla="*/ 274 h 274"/>
                <a:gd name="T22" fmla="*/ 0 w 251"/>
                <a:gd name="T23" fmla="*/ 274 h 274"/>
                <a:gd name="T24" fmla="*/ 0 w 251"/>
                <a:gd name="T25" fmla="*/ 7 h 274"/>
                <a:gd name="T26" fmla="*/ 70 w 251"/>
                <a:gd name="T27" fmla="*/ 7 h 274"/>
                <a:gd name="T28" fmla="*/ 70 w 251"/>
                <a:gd name="T29" fmla="*/ 44 h 274"/>
                <a:gd name="T30" fmla="*/ 72 w 251"/>
                <a:gd name="T31" fmla="*/ 44 h 274"/>
                <a:gd name="T32" fmla="*/ 154 w 251"/>
                <a:gd name="T3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1" h="274">
                  <a:moveTo>
                    <a:pt x="154" y="0"/>
                  </a:moveTo>
                  <a:cubicBezTo>
                    <a:pt x="188" y="0"/>
                    <a:pt x="212" y="8"/>
                    <a:pt x="228" y="25"/>
                  </a:cubicBezTo>
                  <a:cubicBezTo>
                    <a:pt x="243" y="43"/>
                    <a:pt x="251" y="70"/>
                    <a:pt x="251" y="107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122"/>
                    <a:pt x="177" y="122"/>
                    <a:pt x="177" y="122"/>
                  </a:cubicBezTo>
                  <a:cubicBezTo>
                    <a:pt x="177" y="100"/>
                    <a:pt x="174" y="84"/>
                    <a:pt x="167" y="73"/>
                  </a:cubicBezTo>
                  <a:cubicBezTo>
                    <a:pt x="160" y="63"/>
                    <a:pt x="148" y="57"/>
                    <a:pt x="130" y="57"/>
                  </a:cubicBezTo>
                  <a:cubicBezTo>
                    <a:pt x="110" y="57"/>
                    <a:pt x="96" y="63"/>
                    <a:pt x="87" y="75"/>
                  </a:cubicBezTo>
                  <a:cubicBezTo>
                    <a:pt x="78" y="88"/>
                    <a:pt x="74" y="107"/>
                    <a:pt x="74" y="135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90" y="14"/>
                    <a:pt x="117" y="0"/>
                    <a:pt x="1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9" name="Freeform 21"/>
            <p:cNvSpPr>
              <a:spLocks/>
            </p:cNvSpPr>
            <p:nvPr userDrawn="1"/>
          </p:nvSpPr>
          <p:spPr bwMode="auto">
            <a:xfrm>
              <a:off x="3189288" y="658813"/>
              <a:ext cx="123825" cy="141288"/>
            </a:xfrm>
            <a:custGeom>
              <a:avLst/>
              <a:gdLst>
                <a:gd name="T0" fmla="*/ 123 w 247"/>
                <a:gd name="T1" fmla="*/ 0 h 281"/>
                <a:gd name="T2" fmla="*/ 206 w 247"/>
                <a:gd name="T3" fmla="*/ 21 h 281"/>
                <a:gd name="T4" fmla="*/ 240 w 247"/>
                <a:gd name="T5" fmla="*/ 85 h 281"/>
                <a:gd name="T6" fmla="*/ 170 w 247"/>
                <a:gd name="T7" fmla="*/ 85 h 281"/>
                <a:gd name="T8" fmla="*/ 157 w 247"/>
                <a:gd name="T9" fmla="*/ 57 h 281"/>
                <a:gd name="T10" fmla="*/ 120 w 247"/>
                <a:gd name="T11" fmla="*/ 49 h 281"/>
                <a:gd name="T12" fmla="*/ 90 w 247"/>
                <a:gd name="T13" fmla="*/ 55 h 281"/>
                <a:gd name="T14" fmla="*/ 80 w 247"/>
                <a:gd name="T15" fmla="*/ 73 h 281"/>
                <a:gd name="T16" fmla="*/ 86 w 247"/>
                <a:gd name="T17" fmla="*/ 89 h 281"/>
                <a:gd name="T18" fmla="*/ 107 w 247"/>
                <a:gd name="T19" fmla="*/ 100 h 281"/>
                <a:gd name="T20" fmla="*/ 137 w 247"/>
                <a:gd name="T21" fmla="*/ 107 h 281"/>
                <a:gd name="T22" fmla="*/ 208 w 247"/>
                <a:gd name="T23" fmla="*/ 128 h 281"/>
                <a:gd name="T24" fmla="*/ 238 w 247"/>
                <a:gd name="T25" fmla="*/ 152 h 281"/>
                <a:gd name="T26" fmla="*/ 247 w 247"/>
                <a:gd name="T27" fmla="*/ 188 h 281"/>
                <a:gd name="T28" fmla="*/ 215 w 247"/>
                <a:gd name="T29" fmla="*/ 257 h 281"/>
                <a:gd name="T30" fmla="*/ 126 w 247"/>
                <a:gd name="T31" fmla="*/ 281 h 281"/>
                <a:gd name="T32" fmla="*/ 34 w 247"/>
                <a:gd name="T33" fmla="*/ 255 h 281"/>
                <a:gd name="T34" fmla="*/ 0 w 247"/>
                <a:gd name="T35" fmla="*/ 187 h 281"/>
                <a:gd name="T36" fmla="*/ 70 w 247"/>
                <a:gd name="T37" fmla="*/ 187 h 281"/>
                <a:gd name="T38" fmla="*/ 86 w 247"/>
                <a:gd name="T39" fmla="*/ 220 h 281"/>
                <a:gd name="T40" fmla="*/ 126 w 247"/>
                <a:gd name="T41" fmla="*/ 232 h 281"/>
                <a:gd name="T42" fmla="*/ 160 w 247"/>
                <a:gd name="T43" fmla="*/ 223 h 281"/>
                <a:gd name="T44" fmla="*/ 174 w 247"/>
                <a:gd name="T45" fmla="*/ 198 h 281"/>
                <a:gd name="T46" fmla="*/ 166 w 247"/>
                <a:gd name="T47" fmla="*/ 181 h 281"/>
                <a:gd name="T48" fmla="*/ 142 w 247"/>
                <a:gd name="T49" fmla="*/ 169 h 281"/>
                <a:gd name="T50" fmla="*/ 94 w 247"/>
                <a:gd name="T51" fmla="*/ 157 h 281"/>
                <a:gd name="T52" fmla="*/ 48 w 247"/>
                <a:gd name="T53" fmla="*/ 143 h 281"/>
                <a:gd name="T54" fmla="*/ 17 w 247"/>
                <a:gd name="T55" fmla="*/ 120 h 281"/>
                <a:gd name="T56" fmla="*/ 6 w 247"/>
                <a:gd name="T57" fmla="*/ 85 h 281"/>
                <a:gd name="T58" fmla="*/ 19 w 247"/>
                <a:gd name="T59" fmla="*/ 39 h 281"/>
                <a:gd name="T60" fmla="*/ 58 w 247"/>
                <a:gd name="T61" fmla="*/ 10 h 281"/>
                <a:gd name="T62" fmla="*/ 123 w 247"/>
                <a:gd name="T6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7" h="281">
                  <a:moveTo>
                    <a:pt x="123" y="0"/>
                  </a:moveTo>
                  <a:cubicBezTo>
                    <a:pt x="158" y="0"/>
                    <a:pt x="186" y="7"/>
                    <a:pt x="206" y="21"/>
                  </a:cubicBezTo>
                  <a:cubicBezTo>
                    <a:pt x="226" y="36"/>
                    <a:pt x="238" y="57"/>
                    <a:pt x="240" y="85"/>
                  </a:cubicBezTo>
                  <a:cubicBezTo>
                    <a:pt x="170" y="85"/>
                    <a:pt x="170" y="85"/>
                    <a:pt x="170" y="85"/>
                  </a:cubicBezTo>
                  <a:cubicBezTo>
                    <a:pt x="169" y="72"/>
                    <a:pt x="165" y="63"/>
                    <a:pt x="157" y="57"/>
                  </a:cubicBezTo>
                  <a:cubicBezTo>
                    <a:pt x="148" y="52"/>
                    <a:pt x="136" y="49"/>
                    <a:pt x="120" y="49"/>
                  </a:cubicBezTo>
                  <a:cubicBezTo>
                    <a:pt x="107" y="49"/>
                    <a:pt x="96" y="51"/>
                    <a:pt x="90" y="55"/>
                  </a:cubicBezTo>
                  <a:cubicBezTo>
                    <a:pt x="83" y="59"/>
                    <a:pt x="80" y="65"/>
                    <a:pt x="80" y="73"/>
                  </a:cubicBezTo>
                  <a:cubicBezTo>
                    <a:pt x="80" y="80"/>
                    <a:pt x="82" y="85"/>
                    <a:pt x="86" y="89"/>
                  </a:cubicBezTo>
                  <a:cubicBezTo>
                    <a:pt x="91" y="93"/>
                    <a:pt x="98" y="97"/>
                    <a:pt x="107" y="100"/>
                  </a:cubicBezTo>
                  <a:cubicBezTo>
                    <a:pt x="116" y="103"/>
                    <a:pt x="126" y="105"/>
                    <a:pt x="137" y="107"/>
                  </a:cubicBezTo>
                  <a:cubicBezTo>
                    <a:pt x="170" y="114"/>
                    <a:pt x="194" y="121"/>
                    <a:pt x="208" y="128"/>
                  </a:cubicBezTo>
                  <a:cubicBezTo>
                    <a:pt x="221" y="134"/>
                    <a:pt x="231" y="143"/>
                    <a:pt x="238" y="152"/>
                  </a:cubicBezTo>
                  <a:cubicBezTo>
                    <a:pt x="244" y="162"/>
                    <a:pt x="247" y="174"/>
                    <a:pt x="247" y="188"/>
                  </a:cubicBezTo>
                  <a:cubicBezTo>
                    <a:pt x="247" y="218"/>
                    <a:pt x="236" y="241"/>
                    <a:pt x="215" y="257"/>
                  </a:cubicBezTo>
                  <a:cubicBezTo>
                    <a:pt x="193" y="273"/>
                    <a:pt x="163" y="281"/>
                    <a:pt x="126" y="281"/>
                  </a:cubicBezTo>
                  <a:cubicBezTo>
                    <a:pt x="86" y="281"/>
                    <a:pt x="56" y="272"/>
                    <a:pt x="34" y="255"/>
                  </a:cubicBezTo>
                  <a:cubicBezTo>
                    <a:pt x="12" y="239"/>
                    <a:pt x="1" y="216"/>
                    <a:pt x="0" y="187"/>
                  </a:cubicBezTo>
                  <a:cubicBezTo>
                    <a:pt x="70" y="187"/>
                    <a:pt x="70" y="187"/>
                    <a:pt x="70" y="187"/>
                  </a:cubicBezTo>
                  <a:cubicBezTo>
                    <a:pt x="70" y="201"/>
                    <a:pt x="75" y="212"/>
                    <a:pt x="86" y="220"/>
                  </a:cubicBezTo>
                  <a:cubicBezTo>
                    <a:pt x="97" y="228"/>
                    <a:pt x="110" y="232"/>
                    <a:pt x="126" y="232"/>
                  </a:cubicBezTo>
                  <a:cubicBezTo>
                    <a:pt x="140" y="232"/>
                    <a:pt x="151" y="229"/>
                    <a:pt x="160" y="223"/>
                  </a:cubicBezTo>
                  <a:cubicBezTo>
                    <a:pt x="170" y="217"/>
                    <a:pt x="174" y="208"/>
                    <a:pt x="174" y="198"/>
                  </a:cubicBezTo>
                  <a:cubicBezTo>
                    <a:pt x="174" y="191"/>
                    <a:pt x="171" y="185"/>
                    <a:pt x="166" y="181"/>
                  </a:cubicBezTo>
                  <a:cubicBezTo>
                    <a:pt x="160" y="176"/>
                    <a:pt x="152" y="172"/>
                    <a:pt x="142" y="169"/>
                  </a:cubicBezTo>
                  <a:cubicBezTo>
                    <a:pt x="131" y="165"/>
                    <a:pt x="115" y="161"/>
                    <a:pt x="94" y="157"/>
                  </a:cubicBezTo>
                  <a:cubicBezTo>
                    <a:pt x="76" y="154"/>
                    <a:pt x="61" y="149"/>
                    <a:pt x="48" y="143"/>
                  </a:cubicBezTo>
                  <a:cubicBezTo>
                    <a:pt x="34" y="137"/>
                    <a:pt x="24" y="130"/>
                    <a:pt x="17" y="120"/>
                  </a:cubicBezTo>
                  <a:cubicBezTo>
                    <a:pt x="10" y="111"/>
                    <a:pt x="6" y="99"/>
                    <a:pt x="6" y="85"/>
                  </a:cubicBezTo>
                  <a:cubicBezTo>
                    <a:pt x="6" y="68"/>
                    <a:pt x="11" y="52"/>
                    <a:pt x="19" y="39"/>
                  </a:cubicBezTo>
                  <a:cubicBezTo>
                    <a:pt x="28" y="26"/>
                    <a:pt x="40" y="16"/>
                    <a:pt x="58" y="10"/>
                  </a:cubicBezTo>
                  <a:cubicBezTo>
                    <a:pt x="75" y="3"/>
                    <a:pt x="97" y="0"/>
                    <a:pt x="1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0" name="Freeform 22"/>
            <p:cNvSpPr>
              <a:spLocks noEditPoints="1"/>
            </p:cNvSpPr>
            <p:nvPr userDrawn="1"/>
          </p:nvSpPr>
          <p:spPr bwMode="auto">
            <a:xfrm>
              <a:off x="3328988" y="658813"/>
              <a:ext cx="133350" cy="141288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50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9 w 266"/>
                <a:gd name="T25" fmla="*/ 265 h 281"/>
                <a:gd name="T26" fmla="*/ 19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3 w 266"/>
                <a:gd name="T37" fmla="*/ 112 h 281"/>
                <a:gd name="T38" fmla="*/ 174 w 266"/>
                <a:gd name="T39" fmla="*/ 68 h 281"/>
                <a:gd name="T40" fmla="*/ 134 w 266"/>
                <a:gd name="T41" fmla="*/ 55 h 281"/>
                <a:gd name="T42" fmla="*/ 92 w 266"/>
                <a:gd name="T43" fmla="*/ 70 h 281"/>
                <a:gd name="T44" fmla="*/ 73 w 266"/>
                <a:gd name="T45" fmla="*/ 112 h 281"/>
                <a:gd name="T46" fmla="*/ 193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4" y="6"/>
                    <a:pt x="203" y="17"/>
                  </a:cubicBezTo>
                  <a:cubicBezTo>
                    <a:pt x="223" y="29"/>
                    <a:pt x="238" y="46"/>
                    <a:pt x="250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2"/>
                    <a:pt x="175" y="216"/>
                  </a:cubicBezTo>
                  <a:cubicBezTo>
                    <a:pt x="186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0"/>
                    <a:pt x="89" y="275"/>
                    <a:pt x="69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7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7"/>
                    <a:pt x="174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175596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3" y="356662"/>
            <a:ext cx="11353799" cy="5711825"/>
          </a:xfrm>
        </p:spPr>
        <p:txBody>
          <a:bodyPr/>
          <a:lstStyle>
            <a:lvl1pPr>
              <a:spcBef>
                <a:spcPts val="0"/>
              </a:spcBef>
              <a:defRPr sz="4800">
                <a:solidFill>
                  <a:schemeClr val="accent1"/>
                </a:solidFill>
              </a:defRPr>
            </a:lvl1pPr>
            <a:lvl2pPr marL="482564" indent="-482564">
              <a:spcBef>
                <a:spcPts val="0"/>
              </a:spcBef>
              <a:buClrTx/>
              <a:buSzPct val="100000"/>
              <a:buFont typeface="+mj-lt"/>
              <a:buAutoNum type="arabicPeriod"/>
              <a:defRPr sz="4800" baseline="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Agenda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4" name="Image 2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825" t="20227"/>
          <a:stretch/>
        </p:blipFill>
        <p:spPr>
          <a:xfrm>
            <a:off x="9290839" y="1388199"/>
            <a:ext cx="2947463" cy="5470860"/>
          </a:xfrm>
          <a:prstGeom prst="rect">
            <a:avLst/>
          </a:prstGeom>
        </p:spPr>
      </p:pic>
      <p:pic>
        <p:nvPicPr>
          <p:cNvPr id="6" name="Image 2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33" t="42203" r="11604"/>
          <a:stretch/>
        </p:blipFill>
        <p:spPr>
          <a:xfrm rot="10800000">
            <a:off x="10416480" y="2117"/>
            <a:ext cx="1775520" cy="3963752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0426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1574801"/>
            <a:ext cx="11353800" cy="449368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466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9100" y="1574801"/>
            <a:ext cx="5289240" cy="4493683"/>
          </a:xfrm>
        </p:spPr>
        <p:txBody>
          <a:bodyPr>
            <a:normAutofit/>
          </a:bodyPr>
          <a:lstStyle>
            <a:lvl1pPr>
              <a:defRPr sz="1867" baseline="0">
                <a:solidFill>
                  <a:schemeClr val="accent1"/>
                </a:solidFill>
              </a:defRPr>
            </a:lvl1pPr>
            <a:lvl2pPr>
              <a:defRPr sz="1867" baseline="0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 sz="1867" baseline="0">
                <a:solidFill>
                  <a:schemeClr val="bg1"/>
                </a:solidFill>
              </a:defRPr>
            </a:lvl3pPr>
            <a:lvl4pPr>
              <a:defRPr sz="1867" baseline="0">
                <a:solidFill>
                  <a:schemeClr val="bg1"/>
                </a:solidFill>
              </a:defRPr>
            </a:lvl4pPr>
            <a:lvl5pPr>
              <a:defRPr sz="1867" baseline="0">
                <a:solidFill>
                  <a:schemeClr val="bg1"/>
                </a:solidFill>
              </a:defRPr>
            </a:lvl5pPr>
            <a:lvl6pPr>
              <a:defRPr sz="1867">
                <a:solidFill>
                  <a:schemeClr val="bg1"/>
                </a:solidFill>
              </a:defRPr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2588" y="1574799"/>
            <a:ext cx="5290312" cy="4493684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accent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 sz="1867">
                <a:solidFill>
                  <a:schemeClr val="bg1"/>
                </a:solidFill>
              </a:defRPr>
            </a:lvl3pPr>
            <a:lvl4pPr>
              <a:defRPr sz="1867">
                <a:solidFill>
                  <a:schemeClr val="bg1"/>
                </a:solidFill>
              </a:defRPr>
            </a:lvl4pPr>
            <a:lvl5pPr>
              <a:defRPr sz="1867">
                <a:solidFill>
                  <a:schemeClr val="bg1"/>
                </a:solidFill>
              </a:defRPr>
            </a:lvl5pPr>
            <a:lvl6pPr>
              <a:defRPr sz="1867">
                <a:solidFill>
                  <a:schemeClr val="bg1"/>
                </a:solidFill>
              </a:defRPr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7599" y="357717"/>
            <a:ext cx="11355300" cy="98848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10" name="TextBox 9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11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0138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18360" y="357721"/>
            <a:ext cx="11354541" cy="5710767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6000" baseline="0">
                <a:solidFill>
                  <a:schemeClr val="accent1"/>
                </a:solidFill>
              </a:defRPr>
            </a:lvl1pPr>
            <a:lvl2pPr>
              <a:lnSpc>
                <a:spcPct val="85000"/>
              </a:lnSpc>
              <a:spcBef>
                <a:spcPts val="0"/>
              </a:spcBef>
              <a:defRPr sz="6000"/>
            </a:lvl2pPr>
            <a:lvl3pPr>
              <a:defRPr sz="7333"/>
            </a:lvl3pPr>
            <a:lvl4pPr>
              <a:defRPr sz="7333"/>
            </a:lvl4pPr>
            <a:lvl5pPr>
              <a:defRPr sz="7333"/>
            </a:lvl5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6" name="Image 20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825" t="20227"/>
          <a:stretch/>
        </p:blipFill>
        <p:spPr>
          <a:xfrm>
            <a:off x="9290839" y="1388199"/>
            <a:ext cx="2947463" cy="5470860"/>
          </a:xfrm>
          <a:prstGeom prst="rect">
            <a:avLst/>
          </a:prstGeom>
        </p:spPr>
      </p:pic>
      <p:pic>
        <p:nvPicPr>
          <p:cNvPr id="7" name="Image 2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833" t="42203" r="11604"/>
          <a:stretch/>
        </p:blipFill>
        <p:spPr>
          <a:xfrm rot="10800000">
            <a:off x="10416480" y="2117"/>
            <a:ext cx="1775520" cy="3963752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12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8432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client slid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>
          <a:xfrm flipH="1">
            <a:off x="0" y="1059"/>
            <a:ext cx="6096000" cy="68580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19100" y="836713"/>
            <a:ext cx="5272941" cy="3168352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4800" baseline="0">
                <a:solidFill>
                  <a:schemeClr val="accent1"/>
                </a:solidFill>
              </a:defRPr>
            </a:lvl1pPr>
            <a:lvl2pPr>
              <a:lnSpc>
                <a:spcPct val="85000"/>
              </a:lnSpc>
              <a:spcBef>
                <a:spcPts val="0"/>
              </a:spcBef>
              <a:defRPr sz="4800"/>
            </a:lvl2pPr>
            <a:lvl3pPr>
              <a:defRPr sz="7333"/>
            </a:lvl3pPr>
            <a:lvl4pPr>
              <a:defRPr sz="7333"/>
            </a:lvl4pPr>
            <a:lvl5pPr>
              <a:defRPr sz="7333"/>
            </a:lvl5pPr>
          </a:lstStyle>
          <a:p>
            <a:pPr lvl="0"/>
            <a:r>
              <a:rPr lang="en-US"/>
              <a:t>Click to edit title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 sz="133">
                <a:solidFill>
                  <a:schemeClr val="tx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Box 6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9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123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ase - Proble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278" t="22807"/>
          <a:stretch/>
        </p:blipFill>
        <p:spPr>
          <a:xfrm rot="10800000">
            <a:off x="5" y="3"/>
            <a:ext cx="3063905" cy="5381415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3" y="836087"/>
            <a:ext cx="5676900" cy="5232399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accent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 sz="1867">
                <a:solidFill>
                  <a:schemeClr val="bg1"/>
                </a:solidFill>
              </a:defRPr>
            </a:lvl3pPr>
            <a:lvl4pPr>
              <a:defRPr sz="1867">
                <a:solidFill>
                  <a:schemeClr val="bg1"/>
                </a:solidFill>
              </a:defRPr>
            </a:lvl4pPr>
            <a:lvl5pPr>
              <a:defRPr sz="1867">
                <a:solidFill>
                  <a:schemeClr val="bg1"/>
                </a:solidFill>
              </a:defRPr>
            </a:lvl5pPr>
            <a:lvl6pPr>
              <a:defRPr sz="1867">
                <a:solidFill>
                  <a:schemeClr val="bg1"/>
                </a:solidFill>
              </a:defRPr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14920" y="3431119"/>
            <a:ext cx="4512733" cy="2616196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6247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er Case - Respons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3" y="836087"/>
            <a:ext cx="5676900" cy="5232399"/>
          </a:xfrm>
        </p:spPr>
        <p:txBody>
          <a:bodyPr>
            <a:normAutofit/>
          </a:bodyPr>
          <a:lstStyle>
            <a:lvl1pPr>
              <a:defRPr sz="1867">
                <a:solidFill>
                  <a:schemeClr val="accent1"/>
                </a:solidFill>
              </a:defRPr>
            </a:lvl1pPr>
            <a:lvl2pPr>
              <a:defRPr sz="1867"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 sz="1867">
                <a:solidFill>
                  <a:schemeClr val="bg1"/>
                </a:solidFill>
              </a:defRPr>
            </a:lvl3pPr>
            <a:lvl4pPr>
              <a:defRPr sz="1867">
                <a:solidFill>
                  <a:schemeClr val="bg1"/>
                </a:solidFill>
              </a:defRPr>
            </a:lvl4pPr>
            <a:lvl5pPr>
              <a:defRPr sz="1867">
                <a:solidFill>
                  <a:schemeClr val="bg1"/>
                </a:solidFill>
              </a:defRPr>
            </a:lvl5pPr>
            <a:lvl6pPr>
              <a:defRPr sz="1867">
                <a:solidFill>
                  <a:schemeClr val="bg1"/>
                </a:solidFill>
              </a:defRPr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26059" y="836088"/>
            <a:ext cx="4501592" cy="2595033"/>
          </a:xfrm>
        </p:spPr>
        <p:txBody>
          <a:bodyPr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61" t="42341" b="7690"/>
          <a:stretch/>
        </p:blipFill>
        <p:spPr>
          <a:xfrm>
            <a:off x="1" y="3431121"/>
            <a:ext cx="3625795" cy="3426883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12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756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6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626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Bleed Media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0" y="0"/>
            <a:ext cx="12192000" cy="6858000"/>
          </a:xfrm>
          <a:noFill/>
        </p:spPr>
        <p:txBody>
          <a:bodyPr/>
          <a:lstStyle>
            <a:lvl1pPr>
              <a:defRPr sz="133">
                <a:noFill/>
              </a:defRPr>
            </a:lvl1pPr>
            <a:lvl2pPr>
              <a:defRPr sz="133">
                <a:solidFill>
                  <a:schemeClr val="tx1"/>
                </a:solidFill>
              </a:defRPr>
            </a:lvl2pPr>
            <a:lvl3pPr>
              <a:defRPr sz="133">
                <a:solidFill>
                  <a:schemeClr val="tx1"/>
                </a:solidFill>
              </a:defRPr>
            </a:lvl3pPr>
            <a:lvl4pPr>
              <a:defRPr sz="133">
                <a:solidFill>
                  <a:schemeClr val="tx1"/>
                </a:solidFill>
              </a:defRPr>
            </a:lvl4pPr>
            <a:lvl5pPr>
              <a:defRPr sz="133">
                <a:solidFill>
                  <a:schemeClr val="tx1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667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553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8048" y="357718"/>
            <a:ext cx="6439051" cy="3069167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7333" baseline="0">
                <a:solidFill>
                  <a:schemeClr val="tx1"/>
                </a:solidFill>
              </a:defRPr>
            </a:lvl1pPr>
          </a:lstStyle>
          <a:p>
            <a:r>
              <a:rPr lang="pl-PL" noProof="0" dirty="0"/>
              <a:t>Kliknij, aby edytować tytuł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7734301" y="355602"/>
            <a:ext cx="4038600" cy="4538133"/>
          </a:xfrm>
        </p:spPr>
        <p:txBody>
          <a:bodyPr/>
          <a:lstStyle>
            <a:lvl1pPr>
              <a:defRPr/>
            </a:lvl1pPr>
          </a:lstStyle>
          <a:p>
            <a:r>
              <a:rPr lang="pl-PL" dirty="0">
                <a:solidFill>
                  <a:schemeClr val="tx1"/>
                </a:solidFill>
              </a:rPr>
              <a:t>Dzięki używaniu ciemnego motywu zmniejszasz negatywny wpływ na środowisko.</a:t>
            </a:r>
          </a:p>
          <a:p>
            <a:r>
              <a:rPr lang="pl-PL" dirty="0">
                <a:solidFill>
                  <a:schemeClr val="tx1"/>
                </a:solidFill>
              </a:rPr>
              <a:t>Jeśli konieczne będzie wydrukowanie tej prezentacji, zmień motyw na biały:</a:t>
            </a:r>
          </a:p>
          <a:p>
            <a:r>
              <a:rPr lang="pl-PL" dirty="0">
                <a:solidFill>
                  <a:schemeClr val="tx1"/>
                </a:solidFill>
              </a:rPr>
              <a:t>Na karcie </a:t>
            </a:r>
            <a:r>
              <a:rPr lang="pl-PL" dirty="0" err="1"/>
              <a:t>Proiektowanie</a:t>
            </a:r>
            <a:r>
              <a:rPr lang="pl-PL" dirty="0">
                <a:solidFill>
                  <a:schemeClr val="tx1"/>
                </a:solidFill>
              </a:rPr>
              <a:t> rozwiń dostępne </a:t>
            </a:r>
            <a:r>
              <a:rPr lang="pl-PL" dirty="0"/>
              <a:t>Warianty</a:t>
            </a:r>
            <a:r>
              <a:rPr lang="pl-PL" dirty="0">
                <a:solidFill>
                  <a:schemeClr val="tx1"/>
                </a:solidFill>
              </a:rPr>
              <a:t> i wybierz </a:t>
            </a:r>
            <a:r>
              <a:rPr lang="pl-PL" dirty="0"/>
              <a:t>Kolory</a:t>
            </a:r>
            <a:r>
              <a:rPr lang="pl-PL" dirty="0">
                <a:solidFill>
                  <a:schemeClr val="tx1"/>
                </a:solidFill>
              </a:rPr>
              <a:t> – </a:t>
            </a:r>
            <a:r>
              <a:rPr lang="pl-PL" dirty="0"/>
              <a:t>Orange Biały pomocnicze</a:t>
            </a:r>
            <a:r>
              <a:rPr lang="pl-PL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9101" y="3605525"/>
            <a:ext cx="6436729" cy="1288208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241294" indent="-241294" algn="l">
              <a:buClr>
                <a:schemeClr val="bg2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2pPr>
            <a:lvl3pPr marL="542386" indent="-254394" algn="l">
              <a:spcBef>
                <a:spcPts val="448"/>
              </a:spcBef>
              <a:buClrTx/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 marL="791980" indent="-230394" algn="l">
              <a:spcBef>
                <a:spcPts val="32"/>
              </a:spcBef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4pPr>
            <a:lvl5pPr marL="1065573" indent="-254394" algn="l">
              <a:buFont typeface="Helvetica 55 Roman" panose="020B0604020202020204" pitchFamily="34" charset="0"/>
              <a:buChar char="–"/>
              <a:defRPr>
                <a:solidFill>
                  <a:schemeClr val="tx1"/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 dirty="0"/>
              <a:t>Kliknij, aby edytować imię i nazwisko prezentera 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18048" y="5645152"/>
            <a:ext cx="817033" cy="817033"/>
            <a:chOff x="313535" y="4233863"/>
            <a:chExt cx="612775" cy="612775"/>
          </a:xfrm>
        </p:grpSpPr>
        <p:sp>
          <p:nvSpPr>
            <p:cNvPr id="43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4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5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6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7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8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9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0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96199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5369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- Stack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 userDrawn="1"/>
        </p:nvGrpSpPr>
        <p:grpSpPr>
          <a:xfrm>
            <a:off x="2990852" y="2523067"/>
            <a:ext cx="6210301" cy="1811868"/>
            <a:chOff x="2243138" y="1892300"/>
            <a:chExt cx="4657726" cy="1358901"/>
          </a:xfrm>
        </p:grpSpPr>
        <p:sp>
          <p:nvSpPr>
            <p:cNvPr id="9" name="Freeform 5"/>
            <p:cNvSpPr>
              <a:spLocks noEditPoints="1"/>
            </p:cNvSpPr>
            <p:nvPr userDrawn="1"/>
          </p:nvSpPr>
          <p:spPr bwMode="auto">
            <a:xfrm>
              <a:off x="2243138" y="1892300"/>
              <a:ext cx="498475" cy="531813"/>
            </a:xfrm>
            <a:custGeom>
              <a:avLst/>
              <a:gdLst>
                <a:gd name="T0" fmla="*/ 181 w 362"/>
                <a:gd name="T1" fmla="*/ 0 h 386"/>
                <a:gd name="T2" fmla="*/ 312 w 362"/>
                <a:gd name="T3" fmla="*/ 54 h 386"/>
                <a:gd name="T4" fmla="*/ 362 w 362"/>
                <a:gd name="T5" fmla="*/ 194 h 386"/>
                <a:gd name="T6" fmla="*/ 312 w 362"/>
                <a:gd name="T7" fmla="*/ 332 h 386"/>
                <a:gd name="T8" fmla="*/ 181 w 362"/>
                <a:gd name="T9" fmla="*/ 386 h 386"/>
                <a:gd name="T10" fmla="*/ 50 w 362"/>
                <a:gd name="T11" fmla="*/ 332 h 386"/>
                <a:gd name="T12" fmla="*/ 0 w 362"/>
                <a:gd name="T13" fmla="*/ 194 h 386"/>
                <a:gd name="T14" fmla="*/ 50 w 362"/>
                <a:gd name="T15" fmla="*/ 54 h 386"/>
                <a:gd name="T16" fmla="*/ 181 w 362"/>
                <a:gd name="T17" fmla="*/ 0 h 386"/>
                <a:gd name="T18" fmla="*/ 81 w 362"/>
                <a:gd name="T19" fmla="*/ 194 h 386"/>
                <a:gd name="T20" fmla="*/ 107 w 362"/>
                <a:gd name="T21" fmla="*/ 284 h 386"/>
                <a:gd name="T22" fmla="*/ 181 w 362"/>
                <a:gd name="T23" fmla="*/ 318 h 386"/>
                <a:gd name="T24" fmla="*/ 254 w 362"/>
                <a:gd name="T25" fmla="*/ 284 h 386"/>
                <a:gd name="T26" fmla="*/ 281 w 362"/>
                <a:gd name="T27" fmla="*/ 194 h 386"/>
                <a:gd name="T28" fmla="*/ 254 w 362"/>
                <a:gd name="T29" fmla="*/ 101 h 386"/>
                <a:gd name="T30" fmla="*/ 180 w 362"/>
                <a:gd name="T31" fmla="*/ 68 h 386"/>
                <a:gd name="T32" fmla="*/ 107 w 362"/>
                <a:gd name="T33" fmla="*/ 101 h 386"/>
                <a:gd name="T34" fmla="*/ 81 w 362"/>
                <a:gd name="T35" fmla="*/ 194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2" h="386">
                  <a:moveTo>
                    <a:pt x="181" y="0"/>
                  </a:moveTo>
                  <a:cubicBezTo>
                    <a:pt x="235" y="0"/>
                    <a:pt x="279" y="18"/>
                    <a:pt x="312" y="54"/>
                  </a:cubicBezTo>
                  <a:cubicBezTo>
                    <a:pt x="345" y="90"/>
                    <a:pt x="362" y="137"/>
                    <a:pt x="362" y="194"/>
                  </a:cubicBezTo>
                  <a:cubicBezTo>
                    <a:pt x="362" y="250"/>
                    <a:pt x="345" y="296"/>
                    <a:pt x="312" y="332"/>
                  </a:cubicBezTo>
                  <a:cubicBezTo>
                    <a:pt x="279" y="368"/>
                    <a:pt x="235" y="386"/>
                    <a:pt x="181" y="386"/>
                  </a:cubicBezTo>
                  <a:cubicBezTo>
                    <a:pt x="127" y="386"/>
                    <a:pt x="83" y="368"/>
                    <a:pt x="50" y="332"/>
                  </a:cubicBezTo>
                  <a:cubicBezTo>
                    <a:pt x="16" y="296"/>
                    <a:pt x="0" y="250"/>
                    <a:pt x="0" y="194"/>
                  </a:cubicBezTo>
                  <a:cubicBezTo>
                    <a:pt x="0" y="137"/>
                    <a:pt x="17" y="91"/>
                    <a:pt x="50" y="54"/>
                  </a:cubicBezTo>
                  <a:cubicBezTo>
                    <a:pt x="83" y="18"/>
                    <a:pt x="127" y="0"/>
                    <a:pt x="181" y="0"/>
                  </a:cubicBezTo>
                  <a:close/>
                  <a:moveTo>
                    <a:pt x="81" y="194"/>
                  </a:moveTo>
                  <a:cubicBezTo>
                    <a:pt x="81" y="231"/>
                    <a:pt x="90" y="261"/>
                    <a:pt x="107" y="284"/>
                  </a:cubicBezTo>
                  <a:cubicBezTo>
                    <a:pt x="125" y="306"/>
                    <a:pt x="149" y="318"/>
                    <a:pt x="181" y="318"/>
                  </a:cubicBezTo>
                  <a:cubicBezTo>
                    <a:pt x="212" y="318"/>
                    <a:pt x="236" y="306"/>
                    <a:pt x="254" y="284"/>
                  </a:cubicBezTo>
                  <a:cubicBezTo>
                    <a:pt x="272" y="262"/>
                    <a:pt x="281" y="232"/>
                    <a:pt x="281" y="194"/>
                  </a:cubicBezTo>
                  <a:cubicBezTo>
                    <a:pt x="281" y="155"/>
                    <a:pt x="272" y="124"/>
                    <a:pt x="254" y="101"/>
                  </a:cubicBezTo>
                  <a:cubicBezTo>
                    <a:pt x="237" y="79"/>
                    <a:pt x="212" y="68"/>
                    <a:pt x="180" y="68"/>
                  </a:cubicBezTo>
                  <a:cubicBezTo>
                    <a:pt x="149" y="68"/>
                    <a:pt x="125" y="79"/>
                    <a:pt x="107" y="101"/>
                  </a:cubicBezTo>
                  <a:cubicBezTo>
                    <a:pt x="90" y="124"/>
                    <a:pt x="81" y="155"/>
                    <a:pt x="81" y="194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2806701" y="2033588"/>
              <a:ext cx="236538" cy="377825"/>
            </a:xfrm>
            <a:custGeom>
              <a:avLst/>
              <a:gdLst>
                <a:gd name="T0" fmla="*/ 156 w 172"/>
                <a:gd name="T1" fmla="*/ 0 h 274"/>
                <a:gd name="T2" fmla="*/ 172 w 172"/>
                <a:gd name="T3" fmla="*/ 3 h 274"/>
                <a:gd name="T4" fmla="*/ 172 w 172"/>
                <a:gd name="T5" fmla="*/ 71 h 274"/>
                <a:gd name="T6" fmla="*/ 146 w 172"/>
                <a:gd name="T7" fmla="*/ 68 h 274"/>
                <a:gd name="T8" fmla="*/ 74 w 172"/>
                <a:gd name="T9" fmla="*/ 154 h 274"/>
                <a:gd name="T10" fmla="*/ 74 w 172"/>
                <a:gd name="T11" fmla="*/ 274 h 274"/>
                <a:gd name="T12" fmla="*/ 0 w 172"/>
                <a:gd name="T13" fmla="*/ 274 h 274"/>
                <a:gd name="T14" fmla="*/ 0 w 172"/>
                <a:gd name="T15" fmla="*/ 7 h 274"/>
                <a:gd name="T16" fmla="*/ 70 w 172"/>
                <a:gd name="T17" fmla="*/ 7 h 274"/>
                <a:gd name="T18" fmla="*/ 70 w 172"/>
                <a:gd name="T19" fmla="*/ 57 h 274"/>
                <a:gd name="T20" fmla="*/ 71 w 172"/>
                <a:gd name="T21" fmla="*/ 57 h 274"/>
                <a:gd name="T22" fmla="*/ 105 w 172"/>
                <a:gd name="T23" fmla="*/ 15 h 274"/>
                <a:gd name="T24" fmla="*/ 156 w 172"/>
                <a:gd name="T2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74">
                  <a:moveTo>
                    <a:pt x="156" y="0"/>
                  </a:moveTo>
                  <a:cubicBezTo>
                    <a:pt x="162" y="0"/>
                    <a:pt x="168" y="1"/>
                    <a:pt x="172" y="3"/>
                  </a:cubicBezTo>
                  <a:cubicBezTo>
                    <a:pt x="172" y="71"/>
                    <a:pt x="172" y="71"/>
                    <a:pt x="172" y="71"/>
                  </a:cubicBezTo>
                  <a:cubicBezTo>
                    <a:pt x="164" y="69"/>
                    <a:pt x="155" y="68"/>
                    <a:pt x="146" y="68"/>
                  </a:cubicBezTo>
                  <a:cubicBezTo>
                    <a:pt x="98" y="68"/>
                    <a:pt x="74" y="97"/>
                    <a:pt x="74" y="154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8" y="40"/>
                    <a:pt x="90" y="26"/>
                    <a:pt x="105" y="15"/>
                  </a:cubicBezTo>
                  <a:cubicBezTo>
                    <a:pt x="121" y="5"/>
                    <a:pt x="138" y="0"/>
                    <a:pt x="156" y="0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auto">
            <a:xfrm>
              <a:off x="3057526" y="2033588"/>
              <a:ext cx="358775" cy="387350"/>
            </a:xfrm>
            <a:custGeom>
              <a:avLst/>
              <a:gdLst>
                <a:gd name="T0" fmla="*/ 134 w 260"/>
                <a:gd name="T1" fmla="*/ 0 h 281"/>
                <a:gd name="T2" fmla="*/ 251 w 260"/>
                <a:gd name="T3" fmla="*/ 76 h 281"/>
                <a:gd name="T4" fmla="*/ 251 w 260"/>
                <a:gd name="T5" fmla="*/ 217 h 281"/>
                <a:gd name="T6" fmla="*/ 260 w 260"/>
                <a:gd name="T7" fmla="*/ 274 h 281"/>
                <a:gd name="T8" fmla="*/ 186 w 260"/>
                <a:gd name="T9" fmla="*/ 274 h 281"/>
                <a:gd name="T10" fmla="*/ 180 w 260"/>
                <a:gd name="T11" fmla="*/ 248 h 281"/>
                <a:gd name="T12" fmla="*/ 91 w 260"/>
                <a:gd name="T13" fmla="*/ 281 h 281"/>
                <a:gd name="T14" fmla="*/ 24 w 260"/>
                <a:gd name="T15" fmla="*/ 260 h 281"/>
                <a:gd name="T16" fmla="*/ 0 w 260"/>
                <a:gd name="T17" fmla="*/ 201 h 281"/>
                <a:gd name="T18" fmla="*/ 23 w 260"/>
                <a:gd name="T19" fmla="*/ 144 h 281"/>
                <a:gd name="T20" fmla="*/ 109 w 260"/>
                <a:gd name="T21" fmla="*/ 118 h 281"/>
                <a:gd name="T22" fmla="*/ 165 w 260"/>
                <a:gd name="T23" fmla="*/ 106 h 281"/>
                <a:gd name="T24" fmla="*/ 177 w 260"/>
                <a:gd name="T25" fmla="*/ 85 h 281"/>
                <a:gd name="T26" fmla="*/ 166 w 260"/>
                <a:gd name="T27" fmla="*/ 58 h 281"/>
                <a:gd name="T28" fmla="*/ 130 w 260"/>
                <a:gd name="T29" fmla="*/ 49 h 281"/>
                <a:gd name="T30" fmla="*/ 95 w 260"/>
                <a:gd name="T31" fmla="*/ 59 h 281"/>
                <a:gd name="T32" fmla="*/ 81 w 260"/>
                <a:gd name="T33" fmla="*/ 89 h 281"/>
                <a:gd name="T34" fmla="*/ 8 w 260"/>
                <a:gd name="T35" fmla="*/ 89 h 281"/>
                <a:gd name="T36" fmla="*/ 44 w 260"/>
                <a:gd name="T37" fmla="*/ 23 h 281"/>
                <a:gd name="T38" fmla="*/ 134 w 260"/>
                <a:gd name="T39" fmla="*/ 0 h 281"/>
                <a:gd name="T40" fmla="*/ 73 w 260"/>
                <a:gd name="T41" fmla="*/ 198 h 281"/>
                <a:gd name="T42" fmla="*/ 118 w 260"/>
                <a:gd name="T43" fmla="*/ 232 h 281"/>
                <a:gd name="T44" fmla="*/ 177 w 260"/>
                <a:gd name="T45" fmla="*/ 172 h 281"/>
                <a:gd name="T46" fmla="*/ 177 w 260"/>
                <a:gd name="T47" fmla="*/ 143 h 281"/>
                <a:gd name="T48" fmla="*/ 133 w 260"/>
                <a:gd name="T49" fmla="*/ 156 h 281"/>
                <a:gd name="T50" fmla="*/ 88 w 260"/>
                <a:gd name="T51" fmla="*/ 169 h 281"/>
                <a:gd name="T52" fmla="*/ 73 w 260"/>
                <a:gd name="T53" fmla="*/ 198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0" h="281">
                  <a:moveTo>
                    <a:pt x="134" y="0"/>
                  </a:moveTo>
                  <a:cubicBezTo>
                    <a:pt x="212" y="0"/>
                    <a:pt x="251" y="26"/>
                    <a:pt x="251" y="76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51" y="243"/>
                    <a:pt x="254" y="262"/>
                    <a:pt x="260" y="274"/>
                  </a:cubicBezTo>
                  <a:cubicBezTo>
                    <a:pt x="186" y="274"/>
                    <a:pt x="186" y="274"/>
                    <a:pt x="186" y="274"/>
                  </a:cubicBezTo>
                  <a:cubicBezTo>
                    <a:pt x="183" y="266"/>
                    <a:pt x="181" y="257"/>
                    <a:pt x="180" y="248"/>
                  </a:cubicBezTo>
                  <a:cubicBezTo>
                    <a:pt x="159" y="270"/>
                    <a:pt x="129" y="281"/>
                    <a:pt x="91" y="281"/>
                  </a:cubicBezTo>
                  <a:cubicBezTo>
                    <a:pt x="63" y="281"/>
                    <a:pt x="41" y="274"/>
                    <a:pt x="24" y="260"/>
                  </a:cubicBezTo>
                  <a:cubicBezTo>
                    <a:pt x="8" y="246"/>
                    <a:pt x="0" y="226"/>
                    <a:pt x="0" y="201"/>
                  </a:cubicBezTo>
                  <a:cubicBezTo>
                    <a:pt x="0" y="177"/>
                    <a:pt x="8" y="158"/>
                    <a:pt x="23" y="144"/>
                  </a:cubicBezTo>
                  <a:cubicBezTo>
                    <a:pt x="39" y="130"/>
                    <a:pt x="68" y="121"/>
                    <a:pt x="109" y="118"/>
                  </a:cubicBezTo>
                  <a:cubicBezTo>
                    <a:pt x="139" y="114"/>
                    <a:pt x="158" y="111"/>
                    <a:pt x="165" y="106"/>
                  </a:cubicBezTo>
                  <a:cubicBezTo>
                    <a:pt x="173" y="101"/>
                    <a:pt x="177" y="94"/>
                    <a:pt x="177" y="85"/>
                  </a:cubicBezTo>
                  <a:cubicBezTo>
                    <a:pt x="177" y="73"/>
                    <a:pt x="174" y="64"/>
                    <a:pt x="166" y="58"/>
                  </a:cubicBezTo>
                  <a:cubicBezTo>
                    <a:pt x="159" y="52"/>
                    <a:pt x="147" y="49"/>
                    <a:pt x="130" y="49"/>
                  </a:cubicBezTo>
                  <a:cubicBezTo>
                    <a:pt x="115" y="49"/>
                    <a:pt x="103" y="52"/>
                    <a:pt x="95" y="59"/>
                  </a:cubicBezTo>
                  <a:cubicBezTo>
                    <a:pt x="87" y="65"/>
                    <a:pt x="83" y="75"/>
                    <a:pt x="81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10" y="60"/>
                    <a:pt x="22" y="38"/>
                    <a:pt x="44" y="23"/>
                  </a:cubicBezTo>
                  <a:cubicBezTo>
                    <a:pt x="67" y="8"/>
                    <a:pt x="96" y="0"/>
                    <a:pt x="134" y="0"/>
                  </a:cubicBezTo>
                  <a:close/>
                  <a:moveTo>
                    <a:pt x="73" y="198"/>
                  </a:moveTo>
                  <a:cubicBezTo>
                    <a:pt x="73" y="221"/>
                    <a:pt x="88" y="232"/>
                    <a:pt x="118" y="232"/>
                  </a:cubicBezTo>
                  <a:cubicBezTo>
                    <a:pt x="157" y="232"/>
                    <a:pt x="177" y="212"/>
                    <a:pt x="177" y="172"/>
                  </a:cubicBezTo>
                  <a:cubicBezTo>
                    <a:pt x="177" y="143"/>
                    <a:pt x="177" y="143"/>
                    <a:pt x="177" y="143"/>
                  </a:cubicBezTo>
                  <a:cubicBezTo>
                    <a:pt x="171" y="149"/>
                    <a:pt x="157" y="153"/>
                    <a:pt x="133" y="156"/>
                  </a:cubicBezTo>
                  <a:cubicBezTo>
                    <a:pt x="112" y="159"/>
                    <a:pt x="97" y="163"/>
                    <a:pt x="88" y="169"/>
                  </a:cubicBezTo>
                  <a:cubicBezTo>
                    <a:pt x="78" y="175"/>
                    <a:pt x="73" y="185"/>
                    <a:pt x="73" y="198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2" name="Freeform 8"/>
            <p:cNvSpPr>
              <a:spLocks/>
            </p:cNvSpPr>
            <p:nvPr userDrawn="1"/>
          </p:nvSpPr>
          <p:spPr bwMode="auto">
            <a:xfrm>
              <a:off x="3481388" y="2033588"/>
              <a:ext cx="344488" cy="377825"/>
            </a:xfrm>
            <a:custGeom>
              <a:avLst/>
              <a:gdLst>
                <a:gd name="T0" fmla="*/ 153 w 250"/>
                <a:gd name="T1" fmla="*/ 0 h 274"/>
                <a:gd name="T2" fmla="*/ 227 w 250"/>
                <a:gd name="T3" fmla="*/ 26 h 274"/>
                <a:gd name="T4" fmla="*/ 250 w 250"/>
                <a:gd name="T5" fmla="*/ 108 h 274"/>
                <a:gd name="T6" fmla="*/ 250 w 250"/>
                <a:gd name="T7" fmla="*/ 274 h 274"/>
                <a:gd name="T8" fmla="*/ 177 w 250"/>
                <a:gd name="T9" fmla="*/ 274 h 274"/>
                <a:gd name="T10" fmla="*/ 177 w 250"/>
                <a:gd name="T11" fmla="*/ 123 h 274"/>
                <a:gd name="T12" fmla="*/ 167 w 250"/>
                <a:gd name="T13" fmla="*/ 74 h 274"/>
                <a:gd name="T14" fmla="*/ 130 w 250"/>
                <a:gd name="T15" fmla="*/ 58 h 274"/>
                <a:gd name="T16" fmla="*/ 87 w 250"/>
                <a:gd name="T17" fmla="*/ 76 h 274"/>
                <a:gd name="T18" fmla="*/ 73 w 250"/>
                <a:gd name="T19" fmla="*/ 135 h 274"/>
                <a:gd name="T20" fmla="*/ 73 w 250"/>
                <a:gd name="T21" fmla="*/ 274 h 274"/>
                <a:gd name="T22" fmla="*/ 0 w 250"/>
                <a:gd name="T23" fmla="*/ 274 h 274"/>
                <a:gd name="T24" fmla="*/ 0 w 250"/>
                <a:gd name="T25" fmla="*/ 7 h 274"/>
                <a:gd name="T26" fmla="*/ 70 w 250"/>
                <a:gd name="T27" fmla="*/ 7 h 274"/>
                <a:gd name="T28" fmla="*/ 70 w 250"/>
                <a:gd name="T29" fmla="*/ 44 h 274"/>
                <a:gd name="T30" fmla="*/ 71 w 250"/>
                <a:gd name="T31" fmla="*/ 44 h 274"/>
                <a:gd name="T32" fmla="*/ 153 w 250"/>
                <a:gd name="T3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0" h="274">
                  <a:moveTo>
                    <a:pt x="153" y="0"/>
                  </a:moveTo>
                  <a:cubicBezTo>
                    <a:pt x="187" y="0"/>
                    <a:pt x="212" y="9"/>
                    <a:pt x="227" y="26"/>
                  </a:cubicBezTo>
                  <a:cubicBezTo>
                    <a:pt x="243" y="43"/>
                    <a:pt x="250" y="70"/>
                    <a:pt x="250" y="108"/>
                  </a:cubicBezTo>
                  <a:cubicBezTo>
                    <a:pt x="250" y="274"/>
                    <a:pt x="250" y="274"/>
                    <a:pt x="250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7" y="101"/>
                    <a:pt x="174" y="84"/>
                    <a:pt x="167" y="74"/>
                  </a:cubicBezTo>
                  <a:cubicBezTo>
                    <a:pt x="160" y="63"/>
                    <a:pt x="147" y="58"/>
                    <a:pt x="130" y="58"/>
                  </a:cubicBezTo>
                  <a:cubicBezTo>
                    <a:pt x="110" y="58"/>
                    <a:pt x="96" y="64"/>
                    <a:pt x="87" y="76"/>
                  </a:cubicBezTo>
                  <a:cubicBezTo>
                    <a:pt x="78" y="88"/>
                    <a:pt x="73" y="108"/>
                    <a:pt x="73" y="135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90" y="15"/>
                    <a:pt x="117" y="0"/>
                    <a:pt x="153" y="0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auto">
            <a:xfrm>
              <a:off x="3890963" y="2033588"/>
              <a:ext cx="363538" cy="517525"/>
            </a:xfrm>
            <a:custGeom>
              <a:avLst/>
              <a:gdLst>
                <a:gd name="T0" fmla="*/ 114 w 264"/>
                <a:gd name="T1" fmla="*/ 0 h 375"/>
                <a:gd name="T2" fmla="*/ 194 w 264"/>
                <a:gd name="T3" fmla="*/ 43 h 375"/>
                <a:gd name="T4" fmla="*/ 195 w 264"/>
                <a:gd name="T5" fmla="*/ 43 h 375"/>
                <a:gd name="T6" fmla="*/ 195 w 264"/>
                <a:gd name="T7" fmla="*/ 7 h 375"/>
                <a:gd name="T8" fmla="*/ 264 w 264"/>
                <a:gd name="T9" fmla="*/ 7 h 375"/>
                <a:gd name="T10" fmla="*/ 264 w 264"/>
                <a:gd name="T11" fmla="*/ 257 h 375"/>
                <a:gd name="T12" fmla="*/ 229 w 264"/>
                <a:gd name="T13" fmla="*/ 345 h 375"/>
                <a:gd name="T14" fmla="*/ 127 w 264"/>
                <a:gd name="T15" fmla="*/ 375 h 375"/>
                <a:gd name="T16" fmla="*/ 43 w 264"/>
                <a:gd name="T17" fmla="*/ 351 h 375"/>
                <a:gd name="T18" fmla="*/ 9 w 264"/>
                <a:gd name="T19" fmla="*/ 289 h 375"/>
                <a:gd name="T20" fmla="*/ 81 w 264"/>
                <a:gd name="T21" fmla="*/ 289 h 375"/>
                <a:gd name="T22" fmla="*/ 136 w 264"/>
                <a:gd name="T23" fmla="*/ 326 h 375"/>
                <a:gd name="T24" fmla="*/ 180 w 264"/>
                <a:gd name="T25" fmla="*/ 309 h 375"/>
                <a:gd name="T26" fmla="*/ 195 w 264"/>
                <a:gd name="T27" fmla="*/ 261 h 375"/>
                <a:gd name="T28" fmla="*/ 195 w 264"/>
                <a:gd name="T29" fmla="*/ 225 h 375"/>
                <a:gd name="T30" fmla="*/ 194 w 264"/>
                <a:gd name="T31" fmla="*/ 225 h 375"/>
                <a:gd name="T32" fmla="*/ 162 w 264"/>
                <a:gd name="T33" fmla="*/ 255 h 375"/>
                <a:gd name="T34" fmla="*/ 114 w 264"/>
                <a:gd name="T35" fmla="*/ 266 h 375"/>
                <a:gd name="T36" fmla="*/ 30 w 264"/>
                <a:gd name="T37" fmla="*/ 231 h 375"/>
                <a:gd name="T38" fmla="*/ 0 w 264"/>
                <a:gd name="T39" fmla="*/ 132 h 375"/>
                <a:gd name="T40" fmla="*/ 32 w 264"/>
                <a:gd name="T41" fmla="*/ 38 h 375"/>
                <a:gd name="T42" fmla="*/ 114 w 264"/>
                <a:gd name="T43" fmla="*/ 0 h 375"/>
                <a:gd name="T44" fmla="*/ 73 w 264"/>
                <a:gd name="T45" fmla="*/ 131 h 375"/>
                <a:gd name="T46" fmla="*/ 89 w 264"/>
                <a:gd name="T47" fmla="*/ 190 h 375"/>
                <a:gd name="T48" fmla="*/ 132 w 264"/>
                <a:gd name="T49" fmla="*/ 211 h 375"/>
                <a:gd name="T50" fmla="*/ 178 w 264"/>
                <a:gd name="T51" fmla="*/ 191 h 375"/>
                <a:gd name="T52" fmla="*/ 195 w 264"/>
                <a:gd name="T53" fmla="*/ 137 h 375"/>
                <a:gd name="T54" fmla="*/ 179 w 264"/>
                <a:gd name="T55" fmla="*/ 76 h 375"/>
                <a:gd name="T56" fmla="*/ 132 w 264"/>
                <a:gd name="T57" fmla="*/ 55 h 375"/>
                <a:gd name="T58" fmla="*/ 88 w 264"/>
                <a:gd name="T59" fmla="*/ 77 h 375"/>
                <a:gd name="T60" fmla="*/ 73 w 264"/>
                <a:gd name="T61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4" h="375">
                  <a:moveTo>
                    <a:pt x="114" y="0"/>
                  </a:moveTo>
                  <a:cubicBezTo>
                    <a:pt x="151" y="0"/>
                    <a:pt x="178" y="14"/>
                    <a:pt x="194" y="43"/>
                  </a:cubicBezTo>
                  <a:cubicBezTo>
                    <a:pt x="195" y="43"/>
                    <a:pt x="195" y="43"/>
                    <a:pt x="195" y="43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4" y="257"/>
                    <a:pt x="264" y="257"/>
                    <a:pt x="264" y="257"/>
                  </a:cubicBezTo>
                  <a:cubicBezTo>
                    <a:pt x="264" y="296"/>
                    <a:pt x="252" y="325"/>
                    <a:pt x="229" y="345"/>
                  </a:cubicBezTo>
                  <a:cubicBezTo>
                    <a:pt x="205" y="365"/>
                    <a:pt x="171" y="375"/>
                    <a:pt x="127" y="375"/>
                  </a:cubicBezTo>
                  <a:cubicBezTo>
                    <a:pt x="93" y="375"/>
                    <a:pt x="65" y="367"/>
                    <a:pt x="43" y="351"/>
                  </a:cubicBezTo>
                  <a:cubicBezTo>
                    <a:pt x="22" y="334"/>
                    <a:pt x="10" y="314"/>
                    <a:pt x="9" y="289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87" y="314"/>
                    <a:pt x="105" y="326"/>
                    <a:pt x="136" y="326"/>
                  </a:cubicBezTo>
                  <a:cubicBezTo>
                    <a:pt x="155" y="326"/>
                    <a:pt x="169" y="320"/>
                    <a:pt x="180" y="309"/>
                  </a:cubicBezTo>
                  <a:cubicBezTo>
                    <a:pt x="190" y="298"/>
                    <a:pt x="195" y="282"/>
                    <a:pt x="195" y="261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4" y="225"/>
                    <a:pt x="194" y="225"/>
                    <a:pt x="194" y="225"/>
                  </a:cubicBezTo>
                  <a:cubicBezTo>
                    <a:pt x="186" y="238"/>
                    <a:pt x="176" y="248"/>
                    <a:pt x="162" y="255"/>
                  </a:cubicBezTo>
                  <a:cubicBezTo>
                    <a:pt x="148" y="262"/>
                    <a:pt x="132" y="266"/>
                    <a:pt x="114" y="266"/>
                  </a:cubicBezTo>
                  <a:cubicBezTo>
                    <a:pt x="78" y="266"/>
                    <a:pt x="50" y="254"/>
                    <a:pt x="30" y="231"/>
                  </a:cubicBezTo>
                  <a:cubicBezTo>
                    <a:pt x="10" y="208"/>
                    <a:pt x="0" y="175"/>
                    <a:pt x="0" y="132"/>
                  </a:cubicBezTo>
                  <a:cubicBezTo>
                    <a:pt x="0" y="94"/>
                    <a:pt x="10" y="63"/>
                    <a:pt x="32" y="38"/>
                  </a:cubicBezTo>
                  <a:cubicBezTo>
                    <a:pt x="53" y="13"/>
                    <a:pt x="80" y="0"/>
                    <a:pt x="114" y="0"/>
                  </a:cubicBezTo>
                  <a:close/>
                  <a:moveTo>
                    <a:pt x="73" y="131"/>
                  </a:moveTo>
                  <a:cubicBezTo>
                    <a:pt x="73" y="156"/>
                    <a:pt x="78" y="176"/>
                    <a:pt x="89" y="190"/>
                  </a:cubicBezTo>
                  <a:cubicBezTo>
                    <a:pt x="99" y="204"/>
                    <a:pt x="114" y="211"/>
                    <a:pt x="132" y="211"/>
                  </a:cubicBezTo>
                  <a:cubicBezTo>
                    <a:pt x="151" y="211"/>
                    <a:pt x="166" y="204"/>
                    <a:pt x="178" y="191"/>
                  </a:cubicBezTo>
                  <a:cubicBezTo>
                    <a:pt x="189" y="177"/>
                    <a:pt x="195" y="159"/>
                    <a:pt x="195" y="137"/>
                  </a:cubicBezTo>
                  <a:cubicBezTo>
                    <a:pt x="195" y="110"/>
                    <a:pt x="189" y="90"/>
                    <a:pt x="179" y="76"/>
                  </a:cubicBezTo>
                  <a:cubicBezTo>
                    <a:pt x="168" y="62"/>
                    <a:pt x="152" y="55"/>
                    <a:pt x="132" y="55"/>
                  </a:cubicBezTo>
                  <a:cubicBezTo>
                    <a:pt x="113" y="55"/>
                    <a:pt x="98" y="62"/>
                    <a:pt x="88" y="77"/>
                  </a:cubicBezTo>
                  <a:cubicBezTo>
                    <a:pt x="78" y="91"/>
                    <a:pt x="73" y="109"/>
                    <a:pt x="73" y="131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4318001" y="2033588"/>
              <a:ext cx="366713" cy="387350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8 h 281"/>
                <a:gd name="T4" fmla="*/ 250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9 w 266"/>
                <a:gd name="T25" fmla="*/ 265 h 281"/>
                <a:gd name="T26" fmla="*/ 19 w 266"/>
                <a:gd name="T27" fmla="*/ 217 h 281"/>
                <a:gd name="T28" fmla="*/ 0 w 266"/>
                <a:gd name="T29" fmla="*/ 141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3 w 266"/>
                <a:gd name="T37" fmla="*/ 112 h 281"/>
                <a:gd name="T38" fmla="*/ 174 w 266"/>
                <a:gd name="T39" fmla="*/ 69 h 281"/>
                <a:gd name="T40" fmla="*/ 134 w 266"/>
                <a:gd name="T41" fmla="*/ 55 h 281"/>
                <a:gd name="T42" fmla="*/ 92 w 266"/>
                <a:gd name="T43" fmla="*/ 70 h 281"/>
                <a:gd name="T44" fmla="*/ 73 w 266"/>
                <a:gd name="T45" fmla="*/ 112 h 281"/>
                <a:gd name="T46" fmla="*/ 193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2" y="0"/>
                    <a:pt x="184" y="6"/>
                    <a:pt x="203" y="18"/>
                  </a:cubicBezTo>
                  <a:cubicBezTo>
                    <a:pt x="223" y="29"/>
                    <a:pt x="238" y="46"/>
                    <a:pt x="250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8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80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3"/>
                    <a:pt x="175" y="216"/>
                  </a:cubicBezTo>
                  <a:cubicBezTo>
                    <a:pt x="187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1"/>
                    <a:pt x="89" y="275"/>
                    <a:pt x="69" y="265"/>
                  </a:cubicBezTo>
                  <a:cubicBezTo>
                    <a:pt x="48" y="255"/>
                    <a:pt x="31" y="239"/>
                    <a:pt x="19" y="217"/>
                  </a:cubicBezTo>
                  <a:cubicBezTo>
                    <a:pt x="6" y="195"/>
                    <a:pt x="0" y="170"/>
                    <a:pt x="0" y="141"/>
                  </a:cubicBezTo>
                  <a:cubicBezTo>
                    <a:pt x="0" y="114"/>
                    <a:pt x="7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8"/>
                    <a:pt x="174" y="69"/>
                  </a:cubicBezTo>
                  <a:cubicBezTo>
                    <a:pt x="164" y="60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1"/>
                    <a:pt x="75" y="94"/>
                    <a:pt x="73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2243138" y="2603500"/>
              <a:ext cx="473075" cy="530225"/>
            </a:xfrm>
            <a:custGeom>
              <a:avLst/>
              <a:gdLst>
                <a:gd name="T0" fmla="*/ 181 w 343"/>
                <a:gd name="T1" fmla="*/ 0 h 385"/>
                <a:gd name="T2" fmla="*/ 289 w 343"/>
                <a:gd name="T3" fmla="*/ 36 h 385"/>
                <a:gd name="T4" fmla="*/ 340 w 343"/>
                <a:gd name="T5" fmla="*/ 132 h 385"/>
                <a:gd name="T6" fmla="*/ 261 w 343"/>
                <a:gd name="T7" fmla="*/ 132 h 385"/>
                <a:gd name="T8" fmla="*/ 234 w 343"/>
                <a:gd name="T9" fmla="*/ 86 h 385"/>
                <a:gd name="T10" fmla="*/ 181 w 343"/>
                <a:gd name="T11" fmla="*/ 68 h 385"/>
                <a:gd name="T12" fmla="*/ 107 w 343"/>
                <a:gd name="T13" fmla="*/ 102 h 385"/>
                <a:gd name="T14" fmla="*/ 81 w 343"/>
                <a:gd name="T15" fmla="*/ 194 h 385"/>
                <a:gd name="T16" fmla="*/ 107 w 343"/>
                <a:gd name="T17" fmla="*/ 284 h 385"/>
                <a:gd name="T18" fmla="*/ 181 w 343"/>
                <a:gd name="T19" fmla="*/ 317 h 385"/>
                <a:gd name="T20" fmla="*/ 238 w 343"/>
                <a:gd name="T21" fmla="*/ 296 h 385"/>
                <a:gd name="T22" fmla="*/ 264 w 343"/>
                <a:gd name="T23" fmla="*/ 235 h 385"/>
                <a:gd name="T24" fmla="*/ 343 w 343"/>
                <a:gd name="T25" fmla="*/ 235 h 385"/>
                <a:gd name="T26" fmla="*/ 293 w 343"/>
                <a:gd name="T27" fmla="*/ 345 h 385"/>
                <a:gd name="T28" fmla="*/ 181 w 343"/>
                <a:gd name="T29" fmla="*/ 385 h 385"/>
                <a:gd name="T30" fmla="*/ 50 w 343"/>
                <a:gd name="T31" fmla="*/ 332 h 385"/>
                <a:gd name="T32" fmla="*/ 0 w 343"/>
                <a:gd name="T33" fmla="*/ 194 h 385"/>
                <a:gd name="T34" fmla="*/ 49 w 343"/>
                <a:gd name="T35" fmla="*/ 54 h 385"/>
                <a:gd name="T36" fmla="*/ 181 w 343"/>
                <a:gd name="T37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3" h="385">
                  <a:moveTo>
                    <a:pt x="181" y="0"/>
                  </a:moveTo>
                  <a:cubicBezTo>
                    <a:pt x="224" y="0"/>
                    <a:pt x="260" y="12"/>
                    <a:pt x="289" y="36"/>
                  </a:cubicBezTo>
                  <a:cubicBezTo>
                    <a:pt x="318" y="60"/>
                    <a:pt x="335" y="92"/>
                    <a:pt x="340" y="132"/>
                  </a:cubicBezTo>
                  <a:cubicBezTo>
                    <a:pt x="261" y="132"/>
                    <a:pt x="261" y="132"/>
                    <a:pt x="261" y="132"/>
                  </a:cubicBezTo>
                  <a:cubicBezTo>
                    <a:pt x="259" y="114"/>
                    <a:pt x="249" y="99"/>
                    <a:pt x="234" y="86"/>
                  </a:cubicBezTo>
                  <a:cubicBezTo>
                    <a:pt x="219" y="74"/>
                    <a:pt x="201" y="68"/>
                    <a:pt x="181" y="68"/>
                  </a:cubicBezTo>
                  <a:cubicBezTo>
                    <a:pt x="149" y="68"/>
                    <a:pt x="125" y="79"/>
                    <a:pt x="107" y="102"/>
                  </a:cubicBezTo>
                  <a:cubicBezTo>
                    <a:pt x="90" y="124"/>
                    <a:pt x="81" y="155"/>
                    <a:pt x="81" y="194"/>
                  </a:cubicBezTo>
                  <a:cubicBezTo>
                    <a:pt x="81" y="232"/>
                    <a:pt x="90" y="262"/>
                    <a:pt x="107" y="284"/>
                  </a:cubicBezTo>
                  <a:cubicBezTo>
                    <a:pt x="125" y="306"/>
                    <a:pt x="150" y="317"/>
                    <a:pt x="181" y="317"/>
                  </a:cubicBezTo>
                  <a:cubicBezTo>
                    <a:pt x="204" y="317"/>
                    <a:pt x="223" y="310"/>
                    <a:pt x="238" y="296"/>
                  </a:cubicBezTo>
                  <a:cubicBezTo>
                    <a:pt x="252" y="282"/>
                    <a:pt x="261" y="261"/>
                    <a:pt x="264" y="235"/>
                  </a:cubicBezTo>
                  <a:cubicBezTo>
                    <a:pt x="343" y="235"/>
                    <a:pt x="343" y="235"/>
                    <a:pt x="343" y="235"/>
                  </a:cubicBezTo>
                  <a:cubicBezTo>
                    <a:pt x="339" y="281"/>
                    <a:pt x="322" y="318"/>
                    <a:pt x="293" y="345"/>
                  </a:cubicBezTo>
                  <a:cubicBezTo>
                    <a:pt x="263" y="372"/>
                    <a:pt x="226" y="385"/>
                    <a:pt x="181" y="385"/>
                  </a:cubicBezTo>
                  <a:cubicBezTo>
                    <a:pt x="127" y="385"/>
                    <a:pt x="83" y="368"/>
                    <a:pt x="50" y="332"/>
                  </a:cubicBezTo>
                  <a:cubicBezTo>
                    <a:pt x="17" y="296"/>
                    <a:pt x="0" y="250"/>
                    <a:pt x="0" y="194"/>
                  </a:cubicBezTo>
                  <a:cubicBezTo>
                    <a:pt x="0" y="137"/>
                    <a:pt x="16" y="90"/>
                    <a:pt x="49" y="54"/>
                  </a:cubicBezTo>
                  <a:cubicBezTo>
                    <a:pt x="82" y="18"/>
                    <a:pt x="126" y="0"/>
                    <a:pt x="18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738438" y="2754313"/>
              <a:ext cx="377825" cy="496888"/>
            </a:xfrm>
            <a:custGeom>
              <a:avLst/>
              <a:gdLst>
                <a:gd name="T0" fmla="*/ 79 w 274"/>
                <a:gd name="T1" fmla="*/ 0 h 360"/>
                <a:gd name="T2" fmla="*/ 139 w 274"/>
                <a:gd name="T3" fmla="*/ 182 h 360"/>
                <a:gd name="T4" fmla="*/ 140 w 274"/>
                <a:gd name="T5" fmla="*/ 182 h 360"/>
                <a:gd name="T6" fmla="*/ 198 w 274"/>
                <a:gd name="T7" fmla="*/ 0 h 360"/>
                <a:gd name="T8" fmla="*/ 274 w 274"/>
                <a:gd name="T9" fmla="*/ 0 h 360"/>
                <a:gd name="T10" fmla="*/ 163 w 274"/>
                <a:gd name="T11" fmla="*/ 300 h 360"/>
                <a:gd name="T12" fmla="*/ 130 w 274"/>
                <a:gd name="T13" fmla="*/ 346 h 360"/>
                <a:gd name="T14" fmla="*/ 72 w 274"/>
                <a:gd name="T15" fmla="*/ 360 h 360"/>
                <a:gd name="T16" fmla="*/ 26 w 274"/>
                <a:gd name="T17" fmla="*/ 358 h 360"/>
                <a:gd name="T18" fmla="*/ 26 w 274"/>
                <a:gd name="T19" fmla="*/ 297 h 360"/>
                <a:gd name="T20" fmla="*/ 65 w 274"/>
                <a:gd name="T21" fmla="*/ 300 h 360"/>
                <a:gd name="T22" fmla="*/ 89 w 274"/>
                <a:gd name="T23" fmla="*/ 291 h 360"/>
                <a:gd name="T24" fmla="*/ 97 w 274"/>
                <a:gd name="T25" fmla="*/ 267 h 360"/>
                <a:gd name="T26" fmla="*/ 94 w 274"/>
                <a:gd name="T27" fmla="*/ 250 h 360"/>
                <a:gd name="T28" fmla="*/ 0 w 274"/>
                <a:gd name="T29" fmla="*/ 0 h 360"/>
                <a:gd name="T30" fmla="*/ 79 w 274"/>
                <a:gd name="T3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4" h="360">
                  <a:moveTo>
                    <a:pt x="79" y="0"/>
                  </a:moveTo>
                  <a:cubicBezTo>
                    <a:pt x="139" y="182"/>
                    <a:pt x="139" y="182"/>
                    <a:pt x="139" y="182"/>
                  </a:cubicBezTo>
                  <a:cubicBezTo>
                    <a:pt x="140" y="182"/>
                    <a:pt x="140" y="182"/>
                    <a:pt x="140" y="182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163" y="300"/>
                    <a:pt x="163" y="300"/>
                    <a:pt x="163" y="300"/>
                  </a:cubicBezTo>
                  <a:cubicBezTo>
                    <a:pt x="155" y="321"/>
                    <a:pt x="144" y="336"/>
                    <a:pt x="130" y="346"/>
                  </a:cubicBezTo>
                  <a:cubicBezTo>
                    <a:pt x="116" y="356"/>
                    <a:pt x="97" y="360"/>
                    <a:pt x="72" y="360"/>
                  </a:cubicBezTo>
                  <a:cubicBezTo>
                    <a:pt x="61" y="360"/>
                    <a:pt x="46" y="360"/>
                    <a:pt x="26" y="358"/>
                  </a:cubicBezTo>
                  <a:cubicBezTo>
                    <a:pt x="26" y="297"/>
                    <a:pt x="26" y="297"/>
                    <a:pt x="26" y="297"/>
                  </a:cubicBezTo>
                  <a:cubicBezTo>
                    <a:pt x="39" y="299"/>
                    <a:pt x="52" y="300"/>
                    <a:pt x="65" y="300"/>
                  </a:cubicBezTo>
                  <a:cubicBezTo>
                    <a:pt x="75" y="300"/>
                    <a:pt x="83" y="297"/>
                    <a:pt x="89" y="291"/>
                  </a:cubicBezTo>
                  <a:cubicBezTo>
                    <a:pt x="94" y="284"/>
                    <a:pt x="97" y="276"/>
                    <a:pt x="97" y="267"/>
                  </a:cubicBezTo>
                  <a:cubicBezTo>
                    <a:pt x="97" y="261"/>
                    <a:pt x="96" y="256"/>
                    <a:pt x="94" y="25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3149601" y="2614613"/>
              <a:ext cx="371475" cy="517525"/>
            </a:xfrm>
            <a:custGeom>
              <a:avLst/>
              <a:gdLst>
                <a:gd name="T0" fmla="*/ 73 w 269"/>
                <a:gd name="T1" fmla="*/ 0 h 376"/>
                <a:gd name="T2" fmla="*/ 73 w 269"/>
                <a:gd name="T3" fmla="*/ 134 h 376"/>
                <a:gd name="T4" fmla="*/ 74 w 269"/>
                <a:gd name="T5" fmla="*/ 134 h 376"/>
                <a:gd name="T6" fmla="*/ 108 w 269"/>
                <a:gd name="T7" fmla="*/ 106 h 376"/>
                <a:gd name="T8" fmla="*/ 158 w 269"/>
                <a:gd name="T9" fmla="*/ 95 h 376"/>
                <a:gd name="T10" fmla="*/ 238 w 269"/>
                <a:gd name="T11" fmla="*/ 134 h 376"/>
                <a:gd name="T12" fmla="*/ 269 w 269"/>
                <a:gd name="T13" fmla="*/ 235 h 376"/>
                <a:gd name="T14" fmla="*/ 238 w 269"/>
                <a:gd name="T15" fmla="*/ 337 h 376"/>
                <a:gd name="T16" fmla="*/ 158 w 269"/>
                <a:gd name="T17" fmla="*/ 376 h 376"/>
                <a:gd name="T18" fmla="*/ 71 w 269"/>
                <a:gd name="T19" fmla="*/ 334 h 376"/>
                <a:gd name="T20" fmla="*/ 70 w 269"/>
                <a:gd name="T21" fmla="*/ 334 h 376"/>
                <a:gd name="T22" fmla="*/ 70 w 269"/>
                <a:gd name="T23" fmla="*/ 369 h 376"/>
                <a:gd name="T24" fmla="*/ 0 w 269"/>
                <a:gd name="T25" fmla="*/ 369 h 376"/>
                <a:gd name="T26" fmla="*/ 0 w 269"/>
                <a:gd name="T27" fmla="*/ 0 h 376"/>
                <a:gd name="T28" fmla="*/ 73 w 269"/>
                <a:gd name="T29" fmla="*/ 0 h 376"/>
                <a:gd name="T30" fmla="*/ 71 w 269"/>
                <a:gd name="T31" fmla="*/ 235 h 376"/>
                <a:gd name="T32" fmla="*/ 88 w 269"/>
                <a:gd name="T33" fmla="*/ 297 h 376"/>
                <a:gd name="T34" fmla="*/ 133 w 269"/>
                <a:gd name="T35" fmla="*/ 321 h 376"/>
                <a:gd name="T36" fmla="*/ 178 w 269"/>
                <a:gd name="T37" fmla="*/ 298 h 376"/>
                <a:gd name="T38" fmla="*/ 195 w 269"/>
                <a:gd name="T39" fmla="*/ 235 h 376"/>
                <a:gd name="T40" fmla="*/ 179 w 269"/>
                <a:gd name="T41" fmla="*/ 173 h 376"/>
                <a:gd name="T42" fmla="*/ 132 w 269"/>
                <a:gd name="T43" fmla="*/ 150 h 376"/>
                <a:gd name="T44" fmla="*/ 87 w 269"/>
                <a:gd name="T45" fmla="*/ 174 h 376"/>
                <a:gd name="T46" fmla="*/ 71 w 269"/>
                <a:gd name="T47" fmla="*/ 23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376">
                  <a:moveTo>
                    <a:pt x="73" y="0"/>
                  </a:moveTo>
                  <a:cubicBezTo>
                    <a:pt x="73" y="134"/>
                    <a:pt x="73" y="134"/>
                    <a:pt x="73" y="13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82" y="122"/>
                    <a:pt x="93" y="113"/>
                    <a:pt x="108" y="106"/>
                  </a:cubicBezTo>
                  <a:cubicBezTo>
                    <a:pt x="123" y="98"/>
                    <a:pt x="139" y="95"/>
                    <a:pt x="158" y="95"/>
                  </a:cubicBezTo>
                  <a:cubicBezTo>
                    <a:pt x="191" y="95"/>
                    <a:pt x="217" y="108"/>
                    <a:pt x="238" y="134"/>
                  </a:cubicBezTo>
                  <a:cubicBezTo>
                    <a:pt x="258" y="160"/>
                    <a:pt x="269" y="194"/>
                    <a:pt x="269" y="235"/>
                  </a:cubicBezTo>
                  <a:cubicBezTo>
                    <a:pt x="269" y="277"/>
                    <a:pt x="258" y="310"/>
                    <a:pt x="238" y="337"/>
                  </a:cubicBezTo>
                  <a:cubicBezTo>
                    <a:pt x="218" y="363"/>
                    <a:pt x="191" y="376"/>
                    <a:pt x="158" y="376"/>
                  </a:cubicBezTo>
                  <a:cubicBezTo>
                    <a:pt x="114" y="376"/>
                    <a:pt x="85" y="362"/>
                    <a:pt x="71" y="334"/>
                  </a:cubicBezTo>
                  <a:cubicBezTo>
                    <a:pt x="70" y="334"/>
                    <a:pt x="70" y="334"/>
                    <a:pt x="70" y="334"/>
                  </a:cubicBezTo>
                  <a:cubicBezTo>
                    <a:pt x="70" y="369"/>
                    <a:pt x="70" y="369"/>
                    <a:pt x="70" y="369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3" y="0"/>
                  </a:lnTo>
                  <a:close/>
                  <a:moveTo>
                    <a:pt x="71" y="235"/>
                  </a:moveTo>
                  <a:cubicBezTo>
                    <a:pt x="71" y="261"/>
                    <a:pt x="76" y="282"/>
                    <a:pt x="88" y="297"/>
                  </a:cubicBezTo>
                  <a:cubicBezTo>
                    <a:pt x="99" y="313"/>
                    <a:pt x="114" y="321"/>
                    <a:pt x="133" y="321"/>
                  </a:cubicBezTo>
                  <a:cubicBezTo>
                    <a:pt x="152" y="321"/>
                    <a:pt x="167" y="313"/>
                    <a:pt x="178" y="298"/>
                  </a:cubicBezTo>
                  <a:cubicBezTo>
                    <a:pt x="190" y="283"/>
                    <a:pt x="195" y="262"/>
                    <a:pt x="195" y="235"/>
                  </a:cubicBezTo>
                  <a:cubicBezTo>
                    <a:pt x="195" y="209"/>
                    <a:pt x="190" y="189"/>
                    <a:pt x="179" y="173"/>
                  </a:cubicBezTo>
                  <a:cubicBezTo>
                    <a:pt x="167" y="158"/>
                    <a:pt x="152" y="150"/>
                    <a:pt x="132" y="150"/>
                  </a:cubicBezTo>
                  <a:cubicBezTo>
                    <a:pt x="113" y="150"/>
                    <a:pt x="98" y="158"/>
                    <a:pt x="87" y="174"/>
                  </a:cubicBezTo>
                  <a:cubicBezTo>
                    <a:pt x="76" y="189"/>
                    <a:pt x="71" y="210"/>
                    <a:pt x="71" y="2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3565526" y="2744788"/>
              <a:ext cx="366713" cy="387350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49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8 w 266"/>
                <a:gd name="T25" fmla="*/ 265 h 281"/>
                <a:gd name="T26" fmla="*/ 19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2 w 266"/>
                <a:gd name="T37" fmla="*/ 112 h 281"/>
                <a:gd name="T38" fmla="*/ 173 w 266"/>
                <a:gd name="T39" fmla="*/ 68 h 281"/>
                <a:gd name="T40" fmla="*/ 134 w 266"/>
                <a:gd name="T41" fmla="*/ 55 h 281"/>
                <a:gd name="T42" fmla="*/ 91 w 266"/>
                <a:gd name="T43" fmla="*/ 70 h 281"/>
                <a:gd name="T44" fmla="*/ 73 w 266"/>
                <a:gd name="T45" fmla="*/ 112 h 281"/>
                <a:gd name="T46" fmla="*/ 192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4" y="6"/>
                    <a:pt x="203" y="17"/>
                  </a:cubicBezTo>
                  <a:cubicBezTo>
                    <a:pt x="223" y="29"/>
                    <a:pt x="238" y="46"/>
                    <a:pt x="249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2"/>
                    <a:pt x="175" y="216"/>
                  </a:cubicBezTo>
                  <a:cubicBezTo>
                    <a:pt x="186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0"/>
                    <a:pt x="89" y="275"/>
                    <a:pt x="68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6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2" y="112"/>
                  </a:moveTo>
                  <a:cubicBezTo>
                    <a:pt x="189" y="92"/>
                    <a:pt x="183" y="77"/>
                    <a:pt x="173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1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3992563" y="2744788"/>
              <a:ext cx="236538" cy="377825"/>
            </a:xfrm>
            <a:custGeom>
              <a:avLst/>
              <a:gdLst>
                <a:gd name="T0" fmla="*/ 156 w 172"/>
                <a:gd name="T1" fmla="*/ 0 h 274"/>
                <a:gd name="T2" fmla="*/ 172 w 172"/>
                <a:gd name="T3" fmla="*/ 2 h 274"/>
                <a:gd name="T4" fmla="*/ 172 w 172"/>
                <a:gd name="T5" fmla="*/ 70 h 274"/>
                <a:gd name="T6" fmla="*/ 145 w 172"/>
                <a:gd name="T7" fmla="*/ 68 h 274"/>
                <a:gd name="T8" fmla="*/ 73 w 172"/>
                <a:gd name="T9" fmla="*/ 153 h 274"/>
                <a:gd name="T10" fmla="*/ 73 w 172"/>
                <a:gd name="T11" fmla="*/ 274 h 274"/>
                <a:gd name="T12" fmla="*/ 0 w 172"/>
                <a:gd name="T13" fmla="*/ 274 h 274"/>
                <a:gd name="T14" fmla="*/ 0 w 172"/>
                <a:gd name="T15" fmla="*/ 7 h 274"/>
                <a:gd name="T16" fmla="*/ 70 w 172"/>
                <a:gd name="T17" fmla="*/ 7 h 274"/>
                <a:gd name="T18" fmla="*/ 70 w 172"/>
                <a:gd name="T19" fmla="*/ 56 h 274"/>
                <a:gd name="T20" fmla="*/ 71 w 172"/>
                <a:gd name="T21" fmla="*/ 56 h 274"/>
                <a:gd name="T22" fmla="*/ 105 w 172"/>
                <a:gd name="T23" fmla="*/ 15 h 274"/>
                <a:gd name="T24" fmla="*/ 156 w 172"/>
                <a:gd name="T2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74">
                  <a:moveTo>
                    <a:pt x="156" y="0"/>
                  </a:moveTo>
                  <a:cubicBezTo>
                    <a:pt x="162" y="0"/>
                    <a:pt x="167" y="1"/>
                    <a:pt x="172" y="2"/>
                  </a:cubicBezTo>
                  <a:cubicBezTo>
                    <a:pt x="172" y="70"/>
                    <a:pt x="172" y="70"/>
                    <a:pt x="172" y="70"/>
                  </a:cubicBezTo>
                  <a:cubicBezTo>
                    <a:pt x="164" y="69"/>
                    <a:pt x="155" y="68"/>
                    <a:pt x="145" y="68"/>
                  </a:cubicBezTo>
                  <a:cubicBezTo>
                    <a:pt x="97" y="68"/>
                    <a:pt x="73" y="96"/>
                    <a:pt x="73" y="153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8" y="39"/>
                    <a:pt x="89" y="25"/>
                    <a:pt x="105" y="15"/>
                  </a:cubicBezTo>
                  <a:cubicBezTo>
                    <a:pt x="121" y="5"/>
                    <a:pt x="138" y="0"/>
                    <a:pt x="1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4246563" y="2614613"/>
              <a:ext cx="373063" cy="517525"/>
            </a:xfrm>
            <a:custGeom>
              <a:avLst/>
              <a:gdLst>
                <a:gd name="T0" fmla="*/ 271 w 271"/>
                <a:gd name="T1" fmla="*/ 0 h 376"/>
                <a:gd name="T2" fmla="*/ 271 w 271"/>
                <a:gd name="T3" fmla="*/ 369 h 376"/>
                <a:gd name="T4" fmla="*/ 202 w 271"/>
                <a:gd name="T5" fmla="*/ 369 h 376"/>
                <a:gd name="T6" fmla="*/ 202 w 271"/>
                <a:gd name="T7" fmla="*/ 334 h 376"/>
                <a:gd name="T8" fmla="*/ 201 w 271"/>
                <a:gd name="T9" fmla="*/ 334 h 376"/>
                <a:gd name="T10" fmla="*/ 120 w 271"/>
                <a:gd name="T11" fmla="*/ 376 h 376"/>
                <a:gd name="T12" fmla="*/ 32 w 271"/>
                <a:gd name="T13" fmla="*/ 336 h 376"/>
                <a:gd name="T14" fmla="*/ 0 w 271"/>
                <a:gd name="T15" fmla="*/ 233 h 376"/>
                <a:gd name="T16" fmla="*/ 33 w 271"/>
                <a:gd name="T17" fmla="*/ 133 h 376"/>
                <a:gd name="T18" fmla="*/ 118 w 271"/>
                <a:gd name="T19" fmla="*/ 95 h 376"/>
                <a:gd name="T20" fmla="*/ 164 w 271"/>
                <a:gd name="T21" fmla="*/ 105 h 376"/>
                <a:gd name="T22" fmla="*/ 197 w 271"/>
                <a:gd name="T23" fmla="*/ 134 h 376"/>
                <a:gd name="T24" fmla="*/ 198 w 271"/>
                <a:gd name="T25" fmla="*/ 134 h 376"/>
                <a:gd name="T26" fmla="*/ 198 w 271"/>
                <a:gd name="T27" fmla="*/ 0 h 376"/>
                <a:gd name="T28" fmla="*/ 271 w 271"/>
                <a:gd name="T29" fmla="*/ 0 h 376"/>
                <a:gd name="T30" fmla="*/ 73 w 271"/>
                <a:gd name="T31" fmla="*/ 235 h 376"/>
                <a:gd name="T32" fmla="*/ 91 w 271"/>
                <a:gd name="T33" fmla="*/ 296 h 376"/>
                <a:gd name="T34" fmla="*/ 138 w 271"/>
                <a:gd name="T35" fmla="*/ 321 h 376"/>
                <a:gd name="T36" fmla="*/ 185 w 271"/>
                <a:gd name="T37" fmla="*/ 298 h 376"/>
                <a:gd name="T38" fmla="*/ 201 w 271"/>
                <a:gd name="T39" fmla="*/ 234 h 376"/>
                <a:gd name="T40" fmla="*/ 184 w 271"/>
                <a:gd name="T41" fmla="*/ 172 h 376"/>
                <a:gd name="T42" fmla="*/ 137 w 271"/>
                <a:gd name="T43" fmla="*/ 150 h 376"/>
                <a:gd name="T44" fmla="*/ 90 w 271"/>
                <a:gd name="T45" fmla="*/ 173 h 376"/>
                <a:gd name="T46" fmla="*/ 73 w 271"/>
                <a:gd name="T47" fmla="*/ 23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1" h="376">
                  <a:moveTo>
                    <a:pt x="271" y="0"/>
                  </a:moveTo>
                  <a:cubicBezTo>
                    <a:pt x="271" y="369"/>
                    <a:pt x="271" y="369"/>
                    <a:pt x="271" y="369"/>
                  </a:cubicBezTo>
                  <a:cubicBezTo>
                    <a:pt x="202" y="369"/>
                    <a:pt x="202" y="369"/>
                    <a:pt x="202" y="369"/>
                  </a:cubicBezTo>
                  <a:cubicBezTo>
                    <a:pt x="202" y="334"/>
                    <a:pt x="202" y="334"/>
                    <a:pt x="202" y="334"/>
                  </a:cubicBezTo>
                  <a:cubicBezTo>
                    <a:pt x="201" y="334"/>
                    <a:pt x="201" y="334"/>
                    <a:pt x="201" y="334"/>
                  </a:cubicBezTo>
                  <a:cubicBezTo>
                    <a:pt x="185" y="362"/>
                    <a:pt x="158" y="376"/>
                    <a:pt x="120" y="376"/>
                  </a:cubicBezTo>
                  <a:cubicBezTo>
                    <a:pt x="83" y="376"/>
                    <a:pt x="54" y="362"/>
                    <a:pt x="32" y="336"/>
                  </a:cubicBezTo>
                  <a:cubicBezTo>
                    <a:pt x="11" y="309"/>
                    <a:pt x="0" y="274"/>
                    <a:pt x="0" y="233"/>
                  </a:cubicBezTo>
                  <a:cubicBezTo>
                    <a:pt x="0" y="192"/>
                    <a:pt x="11" y="159"/>
                    <a:pt x="33" y="133"/>
                  </a:cubicBezTo>
                  <a:cubicBezTo>
                    <a:pt x="55" y="108"/>
                    <a:pt x="83" y="95"/>
                    <a:pt x="118" y="95"/>
                  </a:cubicBezTo>
                  <a:cubicBezTo>
                    <a:pt x="134" y="95"/>
                    <a:pt x="150" y="98"/>
                    <a:pt x="164" y="105"/>
                  </a:cubicBezTo>
                  <a:cubicBezTo>
                    <a:pt x="178" y="111"/>
                    <a:pt x="189" y="121"/>
                    <a:pt x="197" y="134"/>
                  </a:cubicBezTo>
                  <a:cubicBezTo>
                    <a:pt x="198" y="134"/>
                    <a:pt x="198" y="134"/>
                    <a:pt x="198" y="134"/>
                  </a:cubicBezTo>
                  <a:cubicBezTo>
                    <a:pt x="198" y="0"/>
                    <a:pt x="198" y="0"/>
                    <a:pt x="198" y="0"/>
                  </a:cubicBezTo>
                  <a:lnTo>
                    <a:pt x="271" y="0"/>
                  </a:lnTo>
                  <a:close/>
                  <a:moveTo>
                    <a:pt x="73" y="235"/>
                  </a:moveTo>
                  <a:cubicBezTo>
                    <a:pt x="73" y="259"/>
                    <a:pt x="79" y="280"/>
                    <a:pt x="91" y="296"/>
                  </a:cubicBezTo>
                  <a:cubicBezTo>
                    <a:pt x="102" y="312"/>
                    <a:pt x="118" y="321"/>
                    <a:pt x="138" y="321"/>
                  </a:cubicBezTo>
                  <a:cubicBezTo>
                    <a:pt x="159" y="321"/>
                    <a:pt x="175" y="313"/>
                    <a:pt x="185" y="298"/>
                  </a:cubicBezTo>
                  <a:cubicBezTo>
                    <a:pt x="196" y="282"/>
                    <a:pt x="201" y="261"/>
                    <a:pt x="201" y="234"/>
                  </a:cubicBezTo>
                  <a:cubicBezTo>
                    <a:pt x="201" y="208"/>
                    <a:pt x="195" y="187"/>
                    <a:pt x="184" y="172"/>
                  </a:cubicBezTo>
                  <a:cubicBezTo>
                    <a:pt x="173" y="157"/>
                    <a:pt x="158" y="150"/>
                    <a:pt x="137" y="150"/>
                  </a:cubicBezTo>
                  <a:cubicBezTo>
                    <a:pt x="116" y="150"/>
                    <a:pt x="100" y="158"/>
                    <a:pt x="90" y="173"/>
                  </a:cubicBezTo>
                  <a:cubicBezTo>
                    <a:pt x="79" y="189"/>
                    <a:pt x="73" y="209"/>
                    <a:pt x="73" y="2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4679951" y="2744788"/>
              <a:ext cx="366713" cy="387350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49 w 266"/>
                <a:gd name="T5" fmla="*/ 68 h 281"/>
                <a:gd name="T6" fmla="*/ 266 w 266"/>
                <a:gd name="T7" fmla="*/ 145 h 281"/>
                <a:gd name="T8" fmla="*/ 265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6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8 w 266"/>
                <a:gd name="T25" fmla="*/ 265 h 281"/>
                <a:gd name="T26" fmla="*/ 18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2 w 266"/>
                <a:gd name="T37" fmla="*/ 112 h 281"/>
                <a:gd name="T38" fmla="*/ 173 w 266"/>
                <a:gd name="T39" fmla="*/ 68 h 281"/>
                <a:gd name="T40" fmla="*/ 133 w 266"/>
                <a:gd name="T41" fmla="*/ 55 h 281"/>
                <a:gd name="T42" fmla="*/ 91 w 266"/>
                <a:gd name="T43" fmla="*/ 70 h 281"/>
                <a:gd name="T44" fmla="*/ 73 w 266"/>
                <a:gd name="T45" fmla="*/ 112 h 281"/>
                <a:gd name="T46" fmla="*/ 192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3" y="6"/>
                    <a:pt x="203" y="17"/>
                  </a:cubicBezTo>
                  <a:cubicBezTo>
                    <a:pt x="223" y="29"/>
                    <a:pt x="238" y="46"/>
                    <a:pt x="249" y="68"/>
                  </a:cubicBezTo>
                  <a:cubicBezTo>
                    <a:pt x="260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5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79" y="196"/>
                    <a:pt x="90" y="208"/>
                  </a:cubicBezTo>
                  <a:cubicBezTo>
                    <a:pt x="100" y="220"/>
                    <a:pt x="116" y="226"/>
                    <a:pt x="138" y="226"/>
                  </a:cubicBezTo>
                  <a:cubicBezTo>
                    <a:pt x="151" y="226"/>
                    <a:pt x="164" y="222"/>
                    <a:pt x="175" y="216"/>
                  </a:cubicBezTo>
                  <a:cubicBezTo>
                    <a:pt x="186" y="209"/>
                    <a:pt x="193" y="201"/>
                    <a:pt x="196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0" y="281"/>
                    <a:pt x="136" y="281"/>
                  </a:cubicBezTo>
                  <a:cubicBezTo>
                    <a:pt x="111" y="280"/>
                    <a:pt x="89" y="275"/>
                    <a:pt x="68" y="265"/>
                  </a:cubicBezTo>
                  <a:cubicBezTo>
                    <a:pt x="47" y="254"/>
                    <a:pt x="31" y="238"/>
                    <a:pt x="18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6" y="89"/>
                    <a:pt x="19" y="66"/>
                  </a:cubicBezTo>
                  <a:cubicBezTo>
                    <a:pt x="31" y="44"/>
                    <a:pt x="48" y="27"/>
                    <a:pt x="69" y="16"/>
                  </a:cubicBezTo>
                  <a:cubicBezTo>
                    <a:pt x="89" y="5"/>
                    <a:pt x="112" y="0"/>
                    <a:pt x="136" y="0"/>
                  </a:cubicBezTo>
                  <a:close/>
                  <a:moveTo>
                    <a:pt x="192" y="112"/>
                  </a:moveTo>
                  <a:cubicBezTo>
                    <a:pt x="189" y="92"/>
                    <a:pt x="182" y="77"/>
                    <a:pt x="173" y="68"/>
                  </a:cubicBezTo>
                  <a:cubicBezTo>
                    <a:pt x="164" y="59"/>
                    <a:pt x="150" y="55"/>
                    <a:pt x="133" y="55"/>
                  </a:cubicBezTo>
                  <a:cubicBezTo>
                    <a:pt x="115" y="55"/>
                    <a:pt x="101" y="60"/>
                    <a:pt x="91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5067301" y="2614613"/>
              <a:ext cx="236538" cy="508000"/>
            </a:xfrm>
            <a:custGeom>
              <a:avLst/>
              <a:gdLst>
                <a:gd name="T0" fmla="*/ 133 w 172"/>
                <a:gd name="T1" fmla="*/ 0 h 369"/>
                <a:gd name="T2" fmla="*/ 172 w 172"/>
                <a:gd name="T3" fmla="*/ 2 h 369"/>
                <a:gd name="T4" fmla="*/ 172 w 172"/>
                <a:gd name="T5" fmla="*/ 57 h 369"/>
                <a:gd name="T6" fmla="*/ 145 w 172"/>
                <a:gd name="T7" fmla="*/ 55 h 369"/>
                <a:gd name="T8" fmla="*/ 123 w 172"/>
                <a:gd name="T9" fmla="*/ 62 h 369"/>
                <a:gd name="T10" fmla="*/ 117 w 172"/>
                <a:gd name="T11" fmla="*/ 86 h 369"/>
                <a:gd name="T12" fmla="*/ 117 w 172"/>
                <a:gd name="T13" fmla="*/ 102 h 369"/>
                <a:gd name="T14" fmla="*/ 167 w 172"/>
                <a:gd name="T15" fmla="*/ 102 h 369"/>
                <a:gd name="T16" fmla="*/ 167 w 172"/>
                <a:gd name="T17" fmla="*/ 151 h 369"/>
                <a:gd name="T18" fmla="*/ 117 w 172"/>
                <a:gd name="T19" fmla="*/ 151 h 369"/>
                <a:gd name="T20" fmla="*/ 117 w 172"/>
                <a:gd name="T21" fmla="*/ 369 h 369"/>
                <a:gd name="T22" fmla="*/ 44 w 172"/>
                <a:gd name="T23" fmla="*/ 369 h 369"/>
                <a:gd name="T24" fmla="*/ 44 w 172"/>
                <a:gd name="T25" fmla="*/ 151 h 369"/>
                <a:gd name="T26" fmla="*/ 0 w 172"/>
                <a:gd name="T27" fmla="*/ 151 h 369"/>
                <a:gd name="T28" fmla="*/ 0 w 172"/>
                <a:gd name="T29" fmla="*/ 102 h 369"/>
                <a:gd name="T30" fmla="*/ 44 w 172"/>
                <a:gd name="T31" fmla="*/ 102 h 369"/>
                <a:gd name="T32" fmla="*/ 44 w 172"/>
                <a:gd name="T33" fmla="*/ 82 h 369"/>
                <a:gd name="T34" fmla="*/ 67 w 172"/>
                <a:gd name="T35" fmla="*/ 22 h 369"/>
                <a:gd name="T36" fmla="*/ 133 w 172"/>
                <a:gd name="T37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2" h="369">
                  <a:moveTo>
                    <a:pt x="133" y="0"/>
                  </a:moveTo>
                  <a:cubicBezTo>
                    <a:pt x="139" y="0"/>
                    <a:pt x="152" y="1"/>
                    <a:pt x="172" y="2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2" y="56"/>
                    <a:pt x="153" y="55"/>
                    <a:pt x="145" y="55"/>
                  </a:cubicBezTo>
                  <a:cubicBezTo>
                    <a:pt x="135" y="55"/>
                    <a:pt x="127" y="58"/>
                    <a:pt x="123" y="62"/>
                  </a:cubicBezTo>
                  <a:cubicBezTo>
                    <a:pt x="119" y="67"/>
                    <a:pt x="117" y="75"/>
                    <a:pt x="117" y="86"/>
                  </a:cubicBezTo>
                  <a:cubicBezTo>
                    <a:pt x="117" y="102"/>
                    <a:pt x="117" y="102"/>
                    <a:pt x="117" y="102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151"/>
                    <a:pt x="167" y="151"/>
                    <a:pt x="167" y="151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7" y="369"/>
                    <a:pt x="117" y="369"/>
                    <a:pt x="117" y="369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56"/>
                    <a:pt x="51" y="36"/>
                    <a:pt x="67" y="22"/>
                  </a:cubicBezTo>
                  <a:cubicBezTo>
                    <a:pt x="83" y="7"/>
                    <a:pt x="105" y="0"/>
                    <a:pt x="13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auto">
            <a:xfrm>
              <a:off x="5322888" y="2744788"/>
              <a:ext cx="368300" cy="387350"/>
            </a:xfrm>
            <a:custGeom>
              <a:avLst/>
              <a:gdLst>
                <a:gd name="T0" fmla="*/ 137 w 267"/>
                <a:gd name="T1" fmla="*/ 0 h 281"/>
                <a:gd name="T2" fmla="*/ 204 w 267"/>
                <a:gd name="T3" fmla="*/ 17 h 281"/>
                <a:gd name="T4" fmla="*/ 250 w 267"/>
                <a:gd name="T5" fmla="*/ 68 h 281"/>
                <a:gd name="T6" fmla="*/ 267 w 267"/>
                <a:gd name="T7" fmla="*/ 145 h 281"/>
                <a:gd name="T8" fmla="*/ 266 w 267"/>
                <a:gd name="T9" fmla="*/ 158 h 281"/>
                <a:gd name="T10" fmla="*/ 74 w 267"/>
                <a:gd name="T11" fmla="*/ 158 h 281"/>
                <a:gd name="T12" fmla="*/ 90 w 267"/>
                <a:gd name="T13" fmla="*/ 208 h 281"/>
                <a:gd name="T14" fmla="*/ 139 w 267"/>
                <a:gd name="T15" fmla="*/ 226 h 281"/>
                <a:gd name="T16" fmla="*/ 176 w 267"/>
                <a:gd name="T17" fmla="*/ 216 h 281"/>
                <a:gd name="T18" fmla="*/ 197 w 267"/>
                <a:gd name="T19" fmla="*/ 191 h 281"/>
                <a:gd name="T20" fmla="*/ 261 w 267"/>
                <a:gd name="T21" fmla="*/ 191 h 281"/>
                <a:gd name="T22" fmla="*/ 137 w 267"/>
                <a:gd name="T23" fmla="*/ 281 h 281"/>
                <a:gd name="T24" fmla="*/ 69 w 267"/>
                <a:gd name="T25" fmla="*/ 265 h 281"/>
                <a:gd name="T26" fmla="*/ 19 w 267"/>
                <a:gd name="T27" fmla="*/ 217 h 281"/>
                <a:gd name="T28" fmla="*/ 0 w 267"/>
                <a:gd name="T29" fmla="*/ 140 h 281"/>
                <a:gd name="T30" fmla="*/ 19 w 267"/>
                <a:gd name="T31" fmla="*/ 66 h 281"/>
                <a:gd name="T32" fmla="*/ 69 w 267"/>
                <a:gd name="T33" fmla="*/ 16 h 281"/>
                <a:gd name="T34" fmla="*/ 137 w 267"/>
                <a:gd name="T35" fmla="*/ 0 h 281"/>
                <a:gd name="T36" fmla="*/ 193 w 267"/>
                <a:gd name="T37" fmla="*/ 112 h 281"/>
                <a:gd name="T38" fmla="*/ 174 w 267"/>
                <a:gd name="T39" fmla="*/ 68 h 281"/>
                <a:gd name="T40" fmla="*/ 134 w 267"/>
                <a:gd name="T41" fmla="*/ 55 h 281"/>
                <a:gd name="T42" fmla="*/ 92 w 267"/>
                <a:gd name="T43" fmla="*/ 70 h 281"/>
                <a:gd name="T44" fmla="*/ 74 w 267"/>
                <a:gd name="T45" fmla="*/ 112 h 281"/>
                <a:gd name="T46" fmla="*/ 193 w 267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7" h="281">
                  <a:moveTo>
                    <a:pt x="137" y="0"/>
                  </a:moveTo>
                  <a:cubicBezTo>
                    <a:pt x="162" y="0"/>
                    <a:pt x="184" y="6"/>
                    <a:pt x="204" y="17"/>
                  </a:cubicBezTo>
                  <a:cubicBezTo>
                    <a:pt x="223" y="29"/>
                    <a:pt x="239" y="46"/>
                    <a:pt x="250" y="68"/>
                  </a:cubicBezTo>
                  <a:cubicBezTo>
                    <a:pt x="261" y="90"/>
                    <a:pt x="267" y="116"/>
                    <a:pt x="267" y="145"/>
                  </a:cubicBezTo>
                  <a:cubicBezTo>
                    <a:pt x="267" y="147"/>
                    <a:pt x="266" y="152"/>
                    <a:pt x="266" y="158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9" y="226"/>
                  </a:cubicBezTo>
                  <a:cubicBezTo>
                    <a:pt x="152" y="226"/>
                    <a:pt x="164" y="222"/>
                    <a:pt x="176" y="216"/>
                  </a:cubicBezTo>
                  <a:cubicBezTo>
                    <a:pt x="187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3" y="251"/>
                    <a:pt x="201" y="281"/>
                    <a:pt x="137" y="281"/>
                  </a:cubicBezTo>
                  <a:cubicBezTo>
                    <a:pt x="112" y="280"/>
                    <a:pt x="90" y="275"/>
                    <a:pt x="69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7" y="195"/>
                    <a:pt x="0" y="169"/>
                    <a:pt x="0" y="140"/>
                  </a:cubicBezTo>
                  <a:cubicBezTo>
                    <a:pt x="0" y="113"/>
                    <a:pt x="7" y="89"/>
                    <a:pt x="19" y="66"/>
                  </a:cubicBezTo>
                  <a:cubicBezTo>
                    <a:pt x="32" y="44"/>
                    <a:pt x="49" y="27"/>
                    <a:pt x="69" y="16"/>
                  </a:cubicBezTo>
                  <a:cubicBezTo>
                    <a:pt x="90" y="5"/>
                    <a:pt x="113" y="0"/>
                    <a:pt x="137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7"/>
                    <a:pt x="174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0"/>
                    <a:pt x="75" y="94"/>
                    <a:pt x="74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4" name="Freeform 20"/>
            <p:cNvSpPr>
              <a:spLocks/>
            </p:cNvSpPr>
            <p:nvPr userDrawn="1"/>
          </p:nvSpPr>
          <p:spPr bwMode="auto">
            <a:xfrm>
              <a:off x="5748338" y="2744788"/>
              <a:ext cx="346075" cy="377825"/>
            </a:xfrm>
            <a:custGeom>
              <a:avLst/>
              <a:gdLst>
                <a:gd name="T0" fmla="*/ 154 w 251"/>
                <a:gd name="T1" fmla="*/ 0 h 274"/>
                <a:gd name="T2" fmla="*/ 228 w 251"/>
                <a:gd name="T3" fmla="*/ 25 h 274"/>
                <a:gd name="T4" fmla="*/ 251 w 251"/>
                <a:gd name="T5" fmla="*/ 107 h 274"/>
                <a:gd name="T6" fmla="*/ 251 w 251"/>
                <a:gd name="T7" fmla="*/ 274 h 274"/>
                <a:gd name="T8" fmla="*/ 177 w 251"/>
                <a:gd name="T9" fmla="*/ 274 h 274"/>
                <a:gd name="T10" fmla="*/ 177 w 251"/>
                <a:gd name="T11" fmla="*/ 122 h 274"/>
                <a:gd name="T12" fmla="*/ 167 w 251"/>
                <a:gd name="T13" fmla="*/ 73 h 274"/>
                <a:gd name="T14" fmla="*/ 130 w 251"/>
                <a:gd name="T15" fmla="*/ 57 h 274"/>
                <a:gd name="T16" fmla="*/ 87 w 251"/>
                <a:gd name="T17" fmla="*/ 75 h 274"/>
                <a:gd name="T18" fmla="*/ 74 w 251"/>
                <a:gd name="T19" fmla="*/ 135 h 274"/>
                <a:gd name="T20" fmla="*/ 74 w 251"/>
                <a:gd name="T21" fmla="*/ 274 h 274"/>
                <a:gd name="T22" fmla="*/ 0 w 251"/>
                <a:gd name="T23" fmla="*/ 274 h 274"/>
                <a:gd name="T24" fmla="*/ 0 w 251"/>
                <a:gd name="T25" fmla="*/ 7 h 274"/>
                <a:gd name="T26" fmla="*/ 70 w 251"/>
                <a:gd name="T27" fmla="*/ 7 h 274"/>
                <a:gd name="T28" fmla="*/ 70 w 251"/>
                <a:gd name="T29" fmla="*/ 44 h 274"/>
                <a:gd name="T30" fmla="*/ 72 w 251"/>
                <a:gd name="T31" fmla="*/ 44 h 274"/>
                <a:gd name="T32" fmla="*/ 154 w 251"/>
                <a:gd name="T3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1" h="274">
                  <a:moveTo>
                    <a:pt x="154" y="0"/>
                  </a:moveTo>
                  <a:cubicBezTo>
                    <a:pt x="188" y="0"/>
                    <a:pt x="212" y="8"/>
                    <a:pt x="228" y="25"/>
                  </a:cubicBezTo>
                  <a:cubicBezTo>
                    <a:pt x="243" y="43"/>
                    <a:pt x="251" y="70"/>
                    <a:pt x="251" y="107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122"/>
                    <a:pt x="177" y="122"/>
                    <a:pt x="177" y="122"/>
                  </a:cubicBezTo>
                  <a:cubicBezTo>
                    <a:pt x="177" y="100"/>
                    <a:pt x="174" y="84"/>
                    <a:pt x="167" y="73"/>
                  </a:cubicBezTo>
                  <a:cubicBezTo>
                    <a:pt x="160" y="63"/>
                    <a:pt x="148" y="57"/>
                    <a:pt x="130" y="57"/>
                  </a:cubicBezTo>
                  <a:cubicBezTo>
                    <a:pt x="110" y="57"/>
                    <a:pt x="96" y="63"/>
                    <a:pt x="87" y="75"/>
                  </a:cubicBezTo>
                  <a:cubicBezTo>
                    <a:pt x="78" y="88"/>
                    <a:pt x="74" y="107"/>
                    <a:pt x="74" y="135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90" y="14"/>
                    <a:pt x="117" y="0"/>
                    <a:pt x="1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6153151" y="2744788"/>
              <a:ext cx="339725" cy="387350"/>
            </a:xfrm>
            <a:custGeom>
              <a:avLst/>
              <a:gdLst>
                <a:gd name="T0" fmla="*/ 123 w 247"/>
                <a:gd name="T1" fmla="*/ 0 h 281"/>
                <a:gd name="T2" fmla="*/ 206 w 247"/>
                <a:gd name="T3" fmla="*/ 21 h 281"/>
                <a:gd name="T4" fmla="*/ 240 w 247"/>
                <a:gd name="T5" fmla="*/ 85 h 281"/>
                <a:gd name="T6" fmla="*/ 170 w 247"/>
                <a:gd name="T7" fmla="*/ 85 h 281"/>
                <a:gd name="T8" fmla="*/ 157 w 247"/>
                <a:gd name="T9" fmla="*/ 57 h 281"/>
                <a:gd name="T10" fmla="*/ 120 w 247"/>
                <a:gd name="T11" fmla="*/ 49 h 281"/>
                <a:gd name="T12" fmla="*/ 90 w 247"/>
                <a:gd name="T13" fmla="*/ 55 h 281"/>
                <a:gd name="T14" fmla="*/ 80 w 247"/>
                <a:gd name="T15" fmla="*/ 73 h 281"/>
                <a:gd name="T16" fmla="*/ 86 w 247"/>
                <a:gd name="T17" fmla="*/ 89 h 281"/>
                <a:gd name="T18" fmla="*/ 107 w 247"/>
                <a:gd name="T19" fmla="*/ 100 h 281"/>
                <a:gd name="T20" fmla="*/ 137 w 247"/>
                <a:gd name="T21" fmla="*/ 107 h 281"/>
                <a:gd name="T22" fmla="*/ 208 w 247"/>
                <a:gd name="T23" fmla="*/ 128 h 281"/>
                <a:gd name="T24" fmla="*/ 238 w 247"/>
                <a:gd name="T25" fmla="*/ 152 h 281"/>
                <a:gd name="T26" fmla="*/ 247 w 247"/>
                <a:gd name="T27" fmla="*/ 188 h 281"/>
                <a:gd name="T28" fmla="*/ 215 w 247"/>
                <a:gd name="T29" fmla="*/ 257 h 281"/>
                <a:gd name="T30" fmla="*/ 126 w 247"/>
                <a:gd name="T31" fmla="*/ 281 h 281"/>
                <a:gd name="T32" fmla="*/ 34 w 247"/>
                <a:gd name="T33" fmla="*/ 255 h 281"/>
                <a:gd name="T34" fmla="*/ 0 w 247"/>
                <a:gd name="T35" fmla="*/ 187 h 281"/>
                <a:gd name="T36" fmla="*/ 70 w 247"/>
                <a:gd name="T37" fmla="*/ 187 h 281"/>
                <a:gd name="T38" fmla="*/ 86 w 247"/>
                <a:gd name="T39" fmla="*/ 220 h 281"/>
                <a:gd name="T40" fmla="*/ 126 w 247"/>
                <a:gd name="T41" fmla="*/ 232 h 281"/>
                <a:gd name="T42" fmla="*/ 160 w 247"/>
                <a:gd name="T43" fmla="*/ 223 h 281"/>
                <a:gd name="T44" fmla="*/ 174 w 247"/>
                <a:gd name="T45" fmla="*/ 198 h 281"/>
                <a:gd name="T46" fmla="*/ 166 w 247"/>
                <a:gd name="T47" fmla="*/ 181 h 281"/>
                <a:gd name="T48" fmla="*/ 142 w 247"/>
                <a:gd name="T49" fmla="*/ 169 h 281"/>
                <a:gd name="T50" fmla="*/ 94 w 247"/>
                <a:gd name="T51" fmla="*/ 157 h 281"/>
                <a:gd name="T52" fmla="*/ 48 w 247"/>
                <a:gd name="T53" fmla="*/ 143 h 281"/>
                <a:gd name="T54" fmla="*/ 17 w 247"/>
                <a:gd name="T55" fmla="*/ 120 h 281"/>
                <a:gd name="T56" fmla="*/ 6 w 247"/>
                <a:gd name="T57" fmla="*/ 85 h 281"/>
                <a:gd name="T58" fmla="*/ 19 w 247"/>
                <a:gd name="T59" fmla="*/ 39 h 281"/>
                <a:gd name="T60" fmla="*/ 58 w 247"/>
                <a:gd name="T61" fmla="*/ 10 h 281"/>
                <a:gd name="T62" fmla="*/ 123 w 247"/>
                <a:gd name="T6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7" h="281">
                  <a:moveTo>
                    <a:pt x="123" y="0"/>
                  </a:moveTo>
                  <a:cubicBezTo>
                    <a:pt x="158" y="0"/>
                    <a:pt x="186" y="7"/>
                    <a:pt x="206" y="21"/>
                  </a:cubicBezTo>
                  <a:cubicBezTo>
                    <a:pt x="226" y="36"/>
                    <a:pt x="238" y="57"/>
                    <a:pt x="240" y="85"/>
                  </a:cubicBezTo>
                  <a:cubicBezTo>
                    <a:pt x="170" y="85"/>
                    <a:pt x="170" y="85"/>
                    <a:pt x="170" y="85"/>
                  </a:cubicBezTo>
                  <a:cubicBezTo>
                    <a:pt x="169" y="72"/>
                    <a:pt x="165" y="63"/>
                    <a:pt x="157" y="57"/>
                  </a:cubicBezTo>
                  <a:cubicBezTo>
                    <a:pt x="148" y="52"/>
                    <a:pt x="136" y="49"/>
                    <a:pt x="120" y="49"/>
                  </a:cubicBezTo>
                  <a:cubicBezTo>
                    <a:pt x="107" y="49"/>
                    <a:pt x="96" y="51"/>
                    <a:pt x="90" y="55"/>
                  </a:cubicBezTo>
                  <a:cubicBezTo>
                    <a:pt x="83" y="59"/>
                    <a:pt x="80" y="65"/>
                    <a:pt x="80" y="73"/>
                  </a:cubicBezTo>
                  <a:cubicBezTo>
                    <a:pt x="80" y="80"/>
                    <a:pt x="82" y="85"/>
                    <a:pt x="86" y="89"/>
                  </a:cubicBezTo>
                  <a:cubicBezTo>
                    <a:pt x="91" y="93"/>
                    <a:pt x="98" y="97"/>
                    <a:pt x="107" y="100"/>
                  </a:cubicBezTo>
                  <a:cubicBezTo>
                    <a:pt x="116" y="103"/>
                    <a:pt x="126" y="105"/>
                    <a:pt x="137" y="107"/>
                  </a:cubicBezTo>
                  <a:cubicBezTo>
                    <a:pt x="170" y="114"/>
                    <a:pt x="194" y="121"/>
                    <a:pt x="208" y="128"/>
                  </a:cubicBezTo>
                  <a:cubicBezTo>
                    <a:pt x="221" y="134"/>
                    <a:pt x="231" y="143"/>
                    <a:pt x="238" y="152"/>
                  </a:cubicBezTo>
                  <a:cubicBezTo>
                    <a:pt x="244" y="162"/>
                    <a:pt x="247" y="174"/>
                    <a:pt x="247" y="188"/>
                  </a:cubicBezTo>
                  <a:cubicBezTo>
                    <a:pt x="247" y="218"/>
                    <a:pt x="236" y="241"/>
                    <a:pt x="215" y="257"/>
                  </a:cubicBezTo>
                  <a:cubicBezTo>
                    <a:pt x="193" y="273"/>
                    <a:pt x="163" y="281"/>
                    <a:pt x="126" y="281"/>
                  </a:cubicBezTo>
                  <a:cubicBezTo>
                    <a:pt x="86" y="281"/>
                    <a:pt x="56" y="272"/>
                    <a:pt x="34" y="255"/>
                  </a:cubicBezTo>
                  <a:cubicBezTo>
                    <a:pt x="12" y="239"/>
                    <a:pt x="1" y="216"/>
                    <a:pt x="0" y="187"/>
                  </a:cubicBezTo>
                  <a:cubicBezTo>
                    <a:pt x="70" y="187"/>
                    <a:pt x="70" y="187"/>
                    <a:pt x="70" y="187"/>
                  </a:cubicBezTo>
                  <a:cubicBezTo>
                    <a:pt x="70" y="201"/>
                    <a:pt x="75" y="212"/>
                    <a:pt x="86" y="220"/>
                  </a:cubicBezTo>
                  <a:cubicBezTo>
                    <a:pt x="97" y="228"/>
                    <a:pt x="110" y="232"/>
                    <a:pt x="126" y="232"/>
                  </a:cubicBezTo>
                  <a:cubicBezTo>
                    <a:pt x="140" y="232"/>
                    <a:pt x="151" y="229"/>
                    <a:pt x="160" y="223"/>
                  </a:cubicBezTo>
                  <a:cubicBezTo>
                    <a:pt x="170" y="217"/>
                    <a:pt x="174" y="208"/>
                    <a:pt x="174" y="198"/>
                  </a:cubicBezTo>
                  <a:cubicBezTo>
                    <a:pt x="174" y="191"/>
                    <a:pt x="171" y="185"/>
                    <a:pt x="166" y="181"/>
                  </a:cubicBezTo>
                  <a:cubicBezTo>
                    <a:pt x="160" y="176"/>
                    <a:pt x="152" y="172"/>
                    <a:pt x="142" y="169"/>
                  </a:cubicBezTo>
                  <a:cubicBezTo>
                    <a:pt x="131" y="165"/>
                    <a:pt x="115" y="161"/>
                    <a:pt x="94" y="157"/>
                  </a:cubicBezTo>
                  <a:cubicBezTo>
                    <a:pt x="76" y="154"/>
                    <a:pt x="61" y="149"/>
                    <a:pt x="48" y="143"/>
                  </a:cubicBezTo>
                  <a:cubicBezTo>
                    <a:pt x="34" y="137"/>
                    <a:pt x="24" y="130"/>
                    <a:pt x="17" y="120"/>
                  </a:cubicBezTo>
                  <a:cubicBezTo>
                    <a:pt x="10" y="111"/>
                    <a:pt x="6" y="99"/>
                    <a:pt x="6" y="85"/>
                  </a:cubicBezTo>
                  <a:cubicBezTo>
                    <a:pt x="6" y="68"/>
                    <a:pt x="11" y="52"/>
                    <a:pt x="19" y="39"/>
                  </a:cubicBezTo>
                  <a:cubicBezTo>
                    <a:pt x="28" y="26"/>
                    <a:pt x="40" y="16"/>
                    <a:pt x="58" y="10"/>
                  </a:cubicBezTo>
                  <a:cubicBezTo>
                    <a:pt x="75" y="3"/>
                    <a:pt x="97" y="0"/>
                    <a:pt x="1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6534151" y="2744788"/>
              <a:ext cx="366713" cy="387350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50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9 w 266"/>
                <a:gd name="T25" fmla="*/ 265 h 281"/>
                <a:gd name="T26" fmla="*/ 19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3 w 266"/>
                <a:gd name="T37" fmla="*/ 112 h 281"/>
                <a:gd name="T38" fmla="*/ 174 w 266"/>
                <a:gd name="T39" fmla="*/ 68 h 281"/>
                <a:gd name="T40" fmla="*/ 134 w 266"/>
                <a:gd name="T41" fmla="*/ 55 h 281"/>
                <a:gd name="T42" fmla="*/ 92 w 266"/>
                <a:gd name="T43" fmla="*/ 70 h 281"/>
                <a:gd name="T44" fmla="*/ 73 w 266"/>
                <a:gd name="T45" fmla="*/ 112 h 281"/>
                <a:gd name="T46" fmla="*/ 193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4" y="6"/>
                    <a:pt x="203" y="17"/>
                  </a:cubicBezTo>
                  <a:cubicBezTo>
                    <a:pt x="223" y="29"/>
                    <a:pt x="238" y="46"/>
                    <a:pt x="250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2"/>
                    <a:pt x="175" y="216"/>
                  </a:cubicBezTo>
                  <a:cubicBezTo>
                    <a:pt x="186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0"/>
                    <a:pt x="89" y="275"/>
                    <a:pt x="69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7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7"/>
                    <a:pt x="174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3698974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2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59"/>
            <a:ext cx="12192000" cy="6858000"/>
          </a:xfrm>
          <a:prstGeom prst="rect">
            <a:avLst/>
          </a:prstGeom>
        </p:spPr>
      </p:pic>
      <p:pic>
        <p:nvPicPr>
          <p:cNvPr id="15" name="Image 2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604" t="42203" r="11604"/>
          <a:stretch/>
        </p:blipFill>
        <p:spPr>
          <a:xfrm rot="10800000">
            <a:off x="0" y="2117"/>
            <a:ext cx="2047336" cy="396375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351584" y="1574805"/>
            <a:ext cx="7104789" cy="702071"/>
          </a:xfrm>
        </p:spPr>
        <p:txBody>
          <a:bodyPr>
            <a:noAutofit/>
          </a:bodyPr>
          <a:lstStyle>
            <a:lvl1pPr algn="l">
              <a:lnSpc>
                <a:spcPct val="85000"/>
              </a:lnSpc>
              <a:defRPr sz="5333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Thanks</a:t>
            </a:r>
            <a:endParaRPr lang="en-GB"/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2351584" y="2468893"/>
            <a:ext cx="7104789" cy="1152128"/>
          </a:xfrm>
        </p:spPr>
        <p:txBody>
          <a:bodyPr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noProof="0"/>
              <a:t>Click to edit contact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418050" y="5645154"/>
            <a:ext cx="817033" cy="817033"/>
            <a:chOff x="313535" y="4233863"/>
            <a:chExt cx="612775" cy="612775"/>
          </a:xfrm>
        </p:grpSpPr>
        <p:sp>
          <p:nvSpPr>
            <p:cNvPr id="50" name="Rectangle 5"/>
            <p:cNvSpPr>
              <a:spLocks noChangeArrowheads="1"/>
            </p:cNvSpPr>
            <p:nvPr userDrawn="1"/>
          </p:nvSpPr>
          <p:spPr bwMode="auto">
            <a:xfrm>
              <a:off x="313535" y="4233863"/>
              <a:ext cx="612775" cy="612775"/>
            </a:xfrm>
            <a:prstGeom prst="rect">
              <a:avLst/>
            </a:pr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1" name="Freeform 6"/>
            <p:cNvSpPr>
              <a:spLocks noEditPoints="1"/>
            </p:cNvSpPr>
            <p:nvPr userDrawn="1"/>
          </p:nvSpPr>
          <p:spPr bwMode="auto">
            <a:xfrm>
              <a:off x="500860" y="4708526"/>
              <a:ext cx="74613" cy="87313"/>
            </a:xfrm>
            <a:custGeom>
              <a:avLst/>
              <a:gdLst>
                <a:gd name="T0" fmla="*/ 66 w 93"/>
                <a:gd name="T1" fmla="*/ 99 h 109"/>
                <a:gd name="T2" fmla="*/ 31 w 93"/>
                <a:gd name="T3" fmla="*/ 109 h 109"/>
                <a:gd name="T4" fmla="*/ 0 w 93"/>
                <a:gd name="T5" fmla="*/ 79 h 109"/>
                <a:gd name="T6" fmla="*/ 66 w 93"/>
                <a:gd name="T7" fmla="*/ 37 h 109"/>
                <a:gd name="T8" fmla="*/ 66 w 93"/>
                <a:gd name="T9" fmla="*/ 32 h 109"/>
                <a:gd name="T10" fmla="*/ 49 w 93"/>
                <a:gd name="T11" fmla="*/ 19 h 109"/>
                <a:gd name="T12" fmla="*/ 24 w 93"/>
                <a:gd name="T13" fmla="*/ 32 h 109"/>
                <a:gd name="T14" fmla="*/ 5 w 93"/>
                <a:gd name="T15" fmla="*/ 21 h 109"/>
                <a:gd name="T16" fmla="*/ 50 w 93"/>
                <a:gd name="T17" fmla="*/ 0 h 109"/>
                <a:gd name="T18" fmla="*/ 93 w 93"/>
                <a:gd name="T19" fmla="*/ 32 h 109"/>
                <a:gd name="T20" fmla="*/ 93 w 93"/>
                <a:gd name="T21" fmla="*/ 108 h 109"/>
                <a:gd name="T22" fmla="*/ 68 w 93"/>
                <a:gd name="T23" fmla="*/ 108 h 109"/>
                <a:gd name="T24" fmla="*/ 66 w 93"/>
                <a:gd name="T25" fmla="*/ 99 h 109"/>
                <a:gd name="T26" fmla="*/ 27 w 93"/>
                <a:gd name="T27" fmla="*/ 77 h 109"/>
                <a:gd name="T28" fmla="*/ 39 w 93"/>
                <a:gd name="T29" fmla="*/ 90 h 109"/>
                <a:gd name="T30" fmla="*/ 65 w 93"/>
                <a:gd name="T31" fmla="*/ 79 h 109"/>
                <a:gd name="T32" fmla="*/ 65 w 93"/>
                <a:gd name="T33" fmla="*/ 54 h 109"/>
                <a:gd name="T34" fmla="*/ 27 w 93"/>
                <a:gd name="T35" fmla="*/ 77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3" h="109">
                  <a:moveTo>
                    <a:pt x="66" y="99"/>
                  </a:moveTo>
                  <a:cubicBezTo>
                    <a:pt x="55" y="106"/>
                    <a:pt x="43" y="109"/>
                    <a:pt x="31" y="109"/>
                  </a:cubicBezTo>
                  <a:cubicBezTo>
                    <a:pt x="11" y="109"/>
                    <a:pt x="0" y="96"/>
                    <a:pt x="0" y="79"/>
                  </a:cubicBezTo>
                  <a:cubicBezTo>
                    <a:pt x="0" y="55"/>
                    <a:pt x="21" y="42"/>
                    <a:pt x="66" y="37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6" y="24"/>
                    <a:pt x="60" y="19"/>
                    <a:pt x="49" y="19"/>
                  </a:cubicBezTo>
                  <a:cubicBezTo>
                    <a:pt x="39" y="19"/>
                    <a:pt x="30" y="24"/>
                    <a:pt x="24" y="32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15" y="7"/>
                    <a:pt x="30" y="0"/>
                    <a:pt x="50" y="0"/>
                  </a:cubicBezTo>
                  <a:cubicBezTo>
                    <a:pt x="77" y="0"/>
                    <a:pt x="93" y="12"/>
                    <a:pt x="93" y="32"/>
                  </a:cubicBezTo>
                  <a:cubicBezTo>
                    <a:pt x="93" y="32"/>
                    <a:pt x="93" y="108"/>
                    <a:pt x="93" y="108"/>
                  </a:cubicBezTo>
                  <a:cubicBezTo>
                    <a:pt x="68" y="108"/>
                    <a:pt x="68" y="108"/>
                    <a:pt x="68" y="108"/>
                  </a:cubicBezTo>
                  <a:lnTo>
                    <a:pt x="66" y="99"/>
                  </a:lnTo>
                  <a:close/>
                  <a:moveTo>
                    <a:pt x="27" y="77"/>
                  </a:moveTo>
                  <a:cubicBezTo>
                    <a:pt x="27" y="84"/>
                    <a:pt x="31" y="90"/>
                    <a:pt x="39" y="90"/>
                  </a:cubicBezTo>
                  <a:cubicBezTo>
                    <a:pt x="48" y="90"/>
                    <a:pt x="57" y="87"/>
                    <a:pt x="65" y="79"/>
                  </a:cubicBezTo>
                  <a:cubicBezTo>
                    <a:pt x="65" y="54"/>
                    <a:pt x="65" y="54"/>
                    <a:pt x="65" y="54"/>
                  </a:cubicBezTo>
                  <a:cubicBezTo>
                    <a:pt x="39" y="57"/>
                    <a:pt x="27" y="64"/>
                    <a:pt x="27" y="7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2" name="Freeform 7"/>
            <p:cNvSpPr>
              <a:spLocks/>
            </p:cNvSpPr>
            <p:nvPr userDrawn="1"/>
          </p:nvSpPr>
          <p:spPr bwMode="auto">
            <a:xfrm>
              <a:off x="592935" y="4708526"/>
              <a:ext cx="76200" cy="87313"/>
            </a:xfrm>
            <a:custGeom>
              <a:avLst/>
              <a:gdLst>
                <a:gd name="T0" fmla="*/ 0 w 94"/>
                <a:gd name="T1" fmla="*/ 5 h 108"/>
                <a:gd name="T2" fmla="*/ 23 w 94"/>
                <a:gd name="T3" fmla="*/ 2 h 108"/>
                <a:gd name="T4" fmla="*/ 25 w 94"/>
                <a:gd name="T5" fmla="*/ 15 h 108"/>
                <a:gd name="T6" fmla="*/ 61 w 94"/>
                <a:gd name="T7" fmla="*/ 0 h 108"/>
                <a:gd name="T8" fmla="*/ 94 w 94"/>
                <a:gd name="T9" fmla="*/ 34 h 108"/>
                <a:gd name="T10" fmla="*/ 94 w 94"/>
                <a:gd name="T11" fmla="*/ 108 h 108"/>
                <a:gd name="T12" fmla="*/ 66 w 94"/>
                <a:gd name="T13" fmla="*/ 108 h 108"/>
                <a:gd name="T14" fmla="*/ 66 w 94"/>
                <a:gd name="T15" fmla="*/ 39 h 108"/>
                <a:gd name="T16" fmla="*/ 53 w 94"/>
                <a:gd name="T17" fmla="*/ 21 h 108"/>
                <a:gd name="T18" fmla="*/ 27 w 94"/>
                <a:gd name="T19" fmla="*/ 32 h 108"/>
                <a:gd name="T20" fmla="*/ 27 w 94"/>
                <a:gd name="T21" fmla="*/ 108 h 108"/>
                <a:gd name="T22" fmla="*/ 0 w 94"/>
                <a:gd name="T23" fmla="*/ 108 h 108"/>
                <a:gd name="T24" fmla="*/ 0 w 94"/>
                <a:gd name="T25" fmla="*/ 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4" h="108">
                  <a:moveTo>
                    <a:pt x="0" y="5"/>
                  </a:moveTo>
                  <a:cubicBezTo>
                    <a:pt x="23" y="2"/>
                    <a:pt x="23" y="2"/>
                    <a:pt x="23" y="2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38" y="5"/>
                    <a:pt x="48" y="0"/>
                    <a:pt x="61" y="0"/>
                  </a:cubicBezTo>
                  <a:cubicBezTo>
                    <a:pt x="83" y="0"/>
                    <a:pt x="94" y="12"/>
                    <a:pt x="94" y="34"/>
                  </a:cubicBezTo>
                  <a:cubicBezTo>
                    <a:pt x="94" y="108"/>
                    <a:pt x="94" y="108"/>
                    <a:pt x="94" y="108"/>
                  </a:cubicBezTo>
                  <a:cubicBezTo>
                    <a:pt x="66" y="108"/>
                    <a:pt x="66" y="108"/>
                    <a:pt x="66" y="108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26"/>
                    <a:pt x="63" y="21"/>
                    <a:pt x="53" y="21"/>
                  </a:cubicBezTo>
                  <a:cubicBezTo>
                    <a:pt x="45" y="21"/>
                    <a:pt x="36" y="24"/>
                    <a:pt x="27" y="32"/>
                  </a:cubicBezTo>
                  <a:cubicBezTo>
                    <a:pt x="27" y="108"/>
                    <a:pt x="27" y="108"/>
                    <a:pt x="27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3" name="Freeform 8"/>
            <p:cNvSpPr>
              <a:spLocks noEditPoints="1"/>
            </p:cNvSpPr>
            <p:nvPr userDrawn="1"/>
          </p:nvSpPr>
          <p:spPr bwMode="auto">
            <a:xfrm>
              <a:off x="778673" y="4708526"/>
              <a:ext cx="79375" cy="88900"/>
            </a:xfrm>
            <a:custGeom>
              <a:avLst/>
              <a:gdLst>
                <a:gd name="T0" fmla="*/ 50 w 98"/>
                <a:gd name="T1" fmla="*/ 110 h 110"/>
                <a:gd name="T2" fmla="*/ 0 w 98"/>
                <a:gd name="T3" fmla="*/ 55 h 110"/>
                <a:gd name="T4" fmla="*/ 49 w 98"/>
                <a:gd name="T5" fmla="*/ 0 h 110"/>
                <a:gd name="T6" fmla="*/ 98 w 98"/>
                <a:gd name="T7" fmla="*/ 54 h 110"/>
                <a:gd name="T8" fmla="*/ 97 w 98"/>
                <a:gd name="T9" fmla="*/ 59 h 110"/>
                <a:gd name="T10" fmla="*/ 27 w 98"/>
                <a:gd name="T11" fmla="*/ 59 h 110"/>
                <a:gd name="T12" fmla="*/ 52 w 98"/>
                <a:gd name="T13" fmla="*/ 89 h 110"/>
                <a:gd name="T14" fmla="*/ 76 w 98"/>
                <a:gd name="T15" fmla="*/ 76 h 110"/>
                <a:gd name="T16" fmla="*/ 96 w 98"/>
                <a:gd name="T17" fmla="*/ 87 h 110"/>
                <a:gd name="T18" fmla="*/ 50 w 98"/>
                <a:gd name="T19" fmla="*/ 110 h 110"/>
                <a:gd name="T20" fmla="*/ 70 w 98"/>
                <a:gd name="T21" fmla="*/ 41 h 110"/>
                <a:gd name="T22" fmla="*/ 49 w 98"/>
                <a:gd name="T23" fmla="*/ 19 h 110"/>
                <a:gd name="T24" fmla="*/ 28 w 98"/>
                <a:gd name="T25" fmla="*/ 41 h 110"/>
                <a:gd name="T26" fmla="*/ 70 w 98"/>
                <a:gd name="T27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8" h="110">
                  <a:moveTo>
                    <a:pt x="50" y="110"/>
                  </a:moveTo>
                  <a:cubicBezTo>
                    <a:pt x="19" y="110"/>
                    <a:pt x="0" y="90"/>
                    <a:pt x="0" y="55"/>
                  </a:cubicBezTo>
                  <a:cubicBezTo>
                    <a:pt x="0" y="20"/>
                    <a:pt x="19" y="0"/>
                    <a:pt x="49" y="0"/>
                  </a:cubicBezTo>
                  <a:cubicBezTo>
                    <a:pt x="80" y="0"/>
                    <a:pt x="98" y="20"/>
                    <a:pt x="98" y="54"/>
                  </a:cubicBezTo>
                  <a:cubicBezTo>
                    <a:pt x="98" y="56"/>
                    <a:pt x="97" y="57"/>
                    <a:pt x="9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8" y="79"/>
                    <a:pt x="36" y="89"/>
                    <a:pt x="52" y="89"/>
                  </a:cubicBezTo>
                  <a:cubicBezTo>
                    <a:pt x="63" y="89"/>
                    <a:pt x="70" y="85"/>
                    <a:pt x="76" y="76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87" y="102"/>
                    <a:pt x="71" y="110"/>
                    <a:pt x="50" y="110"/>
                  </a:cubicBezTo>
                  <a:close/>
                  <a:moveTo>
                    <a:pt x="70" y="41"/>
                  </a:moveTo>
                  <a:cubicBezTo>
                    <a:pt x="70" y="27"/>
                    <a:pt x="62" y="19"/>
                    <a:pt x="49" y="19"/>
                  </a:cubicBezTo>
                  <a:cubicBezTo>
                    <a:pt x="37" y="19"/>
                    <a:pt x="29" y="27"/>
                    <a:pt x="28" y="41"/>
                  </a:cubicBezTo>
                  <a:lnTo>
                    <a:pt x="70" y="4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4" name="Freeform 9"/>
            <p:cNvSpPr>
              <a:spLocks noEditPoints="1"/>
            </p:cNvSpPr>
            <p:nvPr userDrawn="1"/>
          </p:nvSpPr>
          <p:spPr bwMode="auto">
            <a:xfrm>
              <a:off x="346873" y="4708526"/>
              <a:ext cx="84138" cy="88900"/>
            </a:xfrm>
            <a:custGeom>
              <a:avLst/>
              <a:gdLst>
                <a:gd name="T0" fmla="*/ 52 w 104"/>
                <a:gd name="T1" fmla="*/ 111 h 111"/>
                <a:gd name="T2" fmla="*/ 0 w 104"/>
                <a:gd name="T3" fmla="*/ 55 h 111"/>
                <a:gd name="T4" fmla="*/ 52 w 104"/>
                <a:gd name="T5" fmla="*/ 0 h 111"/>
                <a:gd name="T6" fmla="*/ 104 w 104"/>
                <a:gd name="T7" fmla="*/ 55 h 111"/>
                <a:gd name="T8" fmla="*/ 52 w 104"/>
                <a:gd name="T9" fmla="*/ 111 h 111"/>
                <a:gd name="T10" fmla="*/ 52 w 104"/>
                <a:gd name="T11" fmla="*/ 23 h 111"/>
                <a:gd name="T12" fmla="*/ 28 w 104"/>
                <a:gd name="T13" fmla="*/ 55 h 111"/>
                <a:gd name="T14" fmla="*/ 52 w 104"/>
                <a:gd name="T15" fmla="*/ 87 h 111"/>
                <a:gd name="T16" fmla="*/ 77 w 104"/>
                <a:gd name="T17" fmla="*/ 55 h 111"/>
                <a:gd name="T18" fmla="*/ 52 w 104"/>
                <a:gd name="T19" fmla="*/ 23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4" h="111">
                  <a:moveTo>
                    <a:pt x="52" y="111"/>
                  </a:moveTo>
                  <a:cubicBezTo>
                    <a:pt x="25" y="111"/>
                    <a:pt x="0" y="93"/>
                    <a:pt x="0" y="55"/>
                  </a:cubicBezTo>
                  <a:cubicBezTo>
                    <a:pt x="0" y="17"/>
                    <a:pt x="25" y="0"/>
                    <a:pt x="52" y="0"/>
                  </a:cubicBezTo>
                  <a:cubicBezTo>
                    <a:pt x="79" y="0"/>
                    <a:pt x="104" y="17"/>
                    <a:pt x="104" y="55"/>
                  </a:cubicBezTo>
                  <a:cubicBezTo>
                    <a:pt x="104" y="93"/>
                    <a:pt x="79" y="111"/>
                    <a:pt x="52" y="111"/>
                  </a:cubicBezTo>
                  <a:close/>
                  <a:moveTo>
                    <a:pt x="52" y="23"/>
                  </a:moveTo>
                  <a:cubicBezTo>
                    <a:pt x="31" y="23"/>
                    <a:pt x="28" y="42"/>
                    <a:pt x="28" y="55"/>
                  </a:cubicBezTo>
                  <a:cubicBezTo>
                    <a:pt x="28" y="69"/>
                    <a:pt x="31" y="87"/>
                    <a:pt x="52" y="87"/>
                  </a:cubicBezTo>
                  <a:cubicBezTo>
                    <a:pt x="73" y="87"/>
                    <a:pt x="77" y="69"/>
                    <a:pt x="77" y="55"/>
                  </a:cubicBezTo>
                  <a:cubicBezTo>
                    <a:pt x="77" y="42"/>
                    <a:pt x="73" y="23"/>
                    <a:pt x="52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5" name="Freeform 10"/>
            <p:cNvSpPr>
              <a:spLocks/>
            </p:cNvSpPr>
            <p:nvPr userDrawn="1"/>
          </p:nvSpPr>
          <p:spPr bwMode="auto">
            <a:xfrm>
              <a:off x="446885" y="4708526"/>
              <a:ext cx="47625" cy="87313"/>
            </a:xfrm>
            <a:custGeom>
              <a:avLst/>
              <a:gdLst>
                <a:gd name="T0" fmla="*/ 0 w 59"/>
                <a:gd name="T1" fmla="*/ 3 h 108"/>
                <a:gd name="T2" fmla="*/ 26 w 59"/>
                <a:gd name="T3" fmla="*/ 3 h 108"/>
                <a:gd name="T4" fmla="*/ 26 w 59"/>
                <a:gd name="T5" fmla="*/ 15 h 108"/>
                <a:gd name="T6" fmla="*/ 55 w 59"/>
                <a:gd name="T7" fmla="*/ 0 h 108"/>
                <a:gd name="T8" fmla="*/ 59 w 59"/>
                <a:gd name="T9" fmla="*/ 1 h 108"/>
                <a:gd name="T10" fmla="*/ 59 w 59"/>
                <a:gd name="T11" fmla="*/ 27 h 108"/>
                <a:gd name="T12" fmla="*/ 58 w 59"/>
                <a:gd name="T13" fmla="*/ 27 h 108"/>
                <a:gd name="T14" fmla="*/ 28 w 59"/>
                <a:gd name="T15" fmla="*/ 38 h 108"/>
                <a:gd name="T16" fmla="*/ 28 w 59"/>
                <a:gd name="T17" fmla="*/ 108 h 108"/>
                <a:gd name="T18" fmla="*/ 0 w 59"/>
                <a:gd name="T19" fmla="*/ 108 h 108"/>
                <a:gd name="T20" fmla="*/ 0 w 59"/>
                <a:gd name="T21" fmla="*/ 3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108">
                  <a:moveTo>
                    <a:pt x="0" y="3"/>
                  </a:moveTo>
                  <a:cubicBezTo>
                    <a:pt x="26" y="3"/>
                    <a:pt x="26" y="3"/>
                    <a:pt x="26" y="3"/>
                  </a:cubicBezTo>
                  <a:cubicBezTo>
                    <a:pt x="26" y="15"/>
                    <a:pt x="26" y="15"/>
                    <a:pt x="26" y="15"/>
                  </a:cubicBezTo>
                  <a:cubicBezTo>
                    <a:pt x="31" y="8"/>
                    <a:pt x="44" y="0"/>
                    <a:pt x="55" y="0"/>
                  </a:cubicBezTo>
                  <a:cubicBezTo>
                    <a:pt x="57" y="0"/>
                    <a:pt x="58" y="0"/>
                    <a:pt x="59" y="1"/>
                  </a:cubicBezTo>
                  <a:cubicBezTo>
                    <a:pt x="59" y="27"/>
                    <a:pt x="59" y="27"/>
                    <a:pt x="59" y="27"/>
                  </a:cubicBezTo>
                  <a:cubicBezTo>
                    <a:pt x="59" y="27"/>
                    <a:pt x="58" y="27"/>
                    <a:pt x="58" y="27"/>
                  </a:cubicBezTo>
                  <a:cubicBezTo>
                    <a:pt x="46" y="27"/>
                    <a:pt x="32" y="28"/>
                    <a:pt x="28" y="38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0" y="108"/>
                    <a:pt x="0" y="108"/>
                    <a:pt x="0" y="108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6" name="Freeform 11"/>
            <p:cNvSpPr>
              <a:spLocks noEditPoints="1"/>
            </p:cNvSpPr>
            <p:nvPr userDrawn="1"/>
          </p:nvSpPr>
          <p:spPr bwMode="auto">
            <a:xfrm>
              <a:off x="685010" y="4708526"/>
              <a:ext cx="79375" cy="120650"/>
            </a:xfrm>
            <a:custGeom>
              <a:avLst/>
              <a:gdLst>
                <a:gd name="T0" fmla="*/ 49 w 98"/>
                <a:gd name="T1" fmla="*/ 85 h 149"/>
                <a:gd name="T2" fmla="*/ 72 w 98"/>
                <a:gd name="T3" fmla="*/ 50 h 149"/>
                <a:gd name="T4" fmla="*/ 49 w 98"/>
                <a:gd name="T5" fmla="*/ 20 h 149"/>
                <a:gd name="T6" fmla="*/ 28 w 98"/>
                <a:gd name="T7" fmla="*/ 51 h 149"/>
                <a:gd name="T8" fmla="*/ 49 w 98"/>
                <a:gd name="T9" fmla="*/ 85 h 149"/>
                <a:gd name="T10" fmla="*/ 98 w 98"/>
                <a:gd name="T11" fmla="*/ 2 h 149"/>
                <a:gd name="T12" fmla="*/ 98 w 98"/>
                <a:gd name="T13" fmla="*/ 102 h 149"/>
                <a:gd name="T14" fmla="*/ 47 w 98"/>
                <a:gd name="T15" fmla="*/ 149 h 149"/>
                <a:gd name="T16" fmla="*/ 3 w 98"/>
                <a:gd name="T17" fmla="*/ 123 h 149"/>
                <a:gd name="T18" fmla="*/ 30 w 98"/>
                <a:gd name="T19" fmla="*/ 118 h 149"/>
                <a:gd name="T20" fmla="*/ 50 w 98"/>
                <a:gd name="T21" fmla="*/ 128 h 149"/>
                <a:gd name="T22" fmla="*/ 72 w 98"/>
                <a:gd name="T23" fmla="*/ 105 h 149"/>
                <a:gd name="T24" fmla="*/ 72 w 98"/>
                <a:gd name="T25" fmla="*/ 93 h 149"/>
                <a:gd name="T26" fmla="*/ 71 w 98"/>
                <a:gd name="T27" fmla="*/ 92 h 149"/>
                <a:gd name="T28" fmla="*/ 44 w 98"/>
                <a:gd name="T29" fmla="*/ 108 h 149"/>
                <a:gd name="T30" fmla="*/ 0 w 98"/>
                <a:gd name="T31" fmla="*/ 55 h 149"/>
                <a:gd name="T32" fmla="*/ 42 w 98"/>
                <a:gd name="T33" fmla="*/ 0 h 149"/>
                <a:gd name="T34" fmla="*/ 73 w 98"/>
                <a:gd name="T35" fmla="*/ 15 h 149"/>
                <a:gd name="T36" fmla="*/ 73 w 98"/>
                <a:gd name="T37" fmla="*/ 15 h 149"/>
                <a:gd name="T38" fmla="*/ 75 w 98"/>
                <a:gd name="T39" fmla="*/ 2 h 149"/>
                <a:gd name="T40" fmla="*/ 98 w 98"/>
                <a:gd name="T41" fmla="*/ 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8" h="149">
                  <a:moveTo>
                    <a:pt x="49" y="85"/>
                  </a:moveTo>
                  <a:cubicBezTo>
                    <a:pt x="70" y="85"/>
                    <a:pt x="72" y="64"/>
                    <a:pt x="72" y="50"/>
                  </a:cubicBezTo>
                  <a:cubicBezTo>
                    <a:pt x="72" y="33"/>
                    <a:pt x="64" y="20"/>
                    <a:pt x="49" y="20"/>
                  </a:cubicBezTo>
                  <a:cubicBezTo>
                    <a:pt x="39" y="20"/>
                    <a:pt x="28" y="27"/>
                    <a:pt x="28" y="51"/>
                  </a:cubicBezTo>
                  <a:cubicBezTo>
                    <a:pt x="28" y="64"/>
                    <a:pt x="29" y="85"/>
                    <a:pt x="49" y="85"/>
                  </a:cubicBezTo>
                  <a:close/>
                  <a:moveTo>
                    <a:pt x="98" y="2"/>
                  </a:moveTo>
                  <a:cubicBezTo>
                    <a:pt x="98" y="102"/>
                    <a:pt x="98" y="102"/>
                    <a:pt x="98" y="102"/>
                  </a:cubicBezTo>
                  <a:cubicBezTo>
                    <a:pt x="98" y="119"/>
                    <a:pt x="97" y="148"/>
                    <a:pt x="47" y="149"/>
                  </a:cubicBezTo>
                  <a:cubicBezTo>
                    <a:pt x="26" y="149"/>
                    <a:pt x="7" y="141"/>
                    <a:pt x="3" y="123"/>
                  </a:cubicBezTo>
                  <a:cubicBezTo>
                    <a:pt x="30" y="118"/>
                    <a:pt x="30" y="118"/>
                    <a:pt x="30" y="118"/>
                  </a:cubicBezTo>
                  <a:cubicBezTo>
                    <a:pt x="32" y="123"/>
                    <a:pt x="35" y="128"/>
                    <a:pt x="50" y="128"/>
                  </a:cubicBezTo>
                  <a:cubicBezTo>
                    <a:pt x="65" y="128"/>
                    <a:pt x="72" y="122"/>
                    <a:pt x="72" y="105"/>
                  </a:cubicBezTo>
                  <a:cubicBezTo>
                    <a:pt x="72" y="93"/>
                    <a:pt x="72" y="93"/>
                    <a:pt x="72" y="93"/>
                  </a:cubicBezTo>
                  <a:cubicBezTo>
                    <a:pt x="71" y="92"/>
                    <a:pt x="71" y="92"/>
                    <a:pt x="71" y="92"/>
                  </a:cubicBezTo>
                  <a:cubicBezTo>
                    <a:pt x="67" y="100"/>
                    <a:pt x="60" y="108"/>
                    <a:pt x="44" y="108"/>
                  </a:cubicBezTo>
                  <a:cubicBezTo>
                    <a:pt x="19" y="108"/>
                    <a:pt x="0" y="91"/>
                    <a:pt x="0" y="55"/>
                  </a:cubicBezTo>
                  <a:cubicBezTo>
                    <a:pt x="0" y="20"/>
                    <a:pt x="20" y="0"/>
                    <a:pt x="42" y="0"/>
                  </a:cubicBezTo>
                  <a:cubicBezTo>
                    <a:pt x="63" y="0"/>
                    <a:pt x="71" y="10"/>
                    <a:pt x="73" y="15"/>
                  </a:cubicBezTo>
                  <a:cubicBezTo>
                    <a:pt x="73" y="15"/>
                    <a:pt x="73" y="15"/>
                    <a:pt x="73" y="15"/>
                  </a:cubicBezTo>
                  <a:cubicBezTo>
                    <a:pt x="75" y="2"/>
                    <a:pt x="75" y="2"/>
                    <a:pt x="75" y="2"/>
                  </a:cubicBezTo>
                  <a:lnTo>
                    <a:pt x="98" y="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7" name="Freeform 12"/>
            <p:cNvSpPr>
              <a:spLocks noEditPoints="1"/>
            </p:cNvSpPr>
            <p:nvPr userDrawn="1"/>
          </p:nvSpPr>
          <p:spPr bwMode="auto">
            <a:xfrm>
              <a:off x="843760" y="4678363"/>
              <a:ext cx="58738" cy="26988"/>
            </a:xfrm>
            <a:custGeom>
              <a:avLst/>
              <a:gdLst>
                <a:gd name="T0" fmla="*/ 14 w 37"/>
                <a:gd name="T1" fmla="*/ 2 h 17"/>
                <a:gd name="T2" fmla="*/ 9 w 37"/>
                <a:gd name="T3" fmla="*/ 2 h 17"/>
                <a:gd name="T4" fmla="*/ 9 w 37"/>
                <a:gd name="T5" fmla="*/ 17 h 17"/>
                <a:gd name="T6" fmla="*/ 6 w 37"/>
                <a:gd name="T7" fmla="*/ 17 h 17"/>
                <a:gd name="T8" fmla="*/ 6 w 37"/>
                <a:gd name="T9" fmla="*/ 2 h 17"/>
                <a:gd name="T10" fmla="*/ 0 w 37"/>
                <a:gd name="T11" fmla="*/ 2 h 17"/>
                <a:gd name="T12" fmla="*/ 0 w 37"/>
                <a:gd name="T13" fmla="*/ 0 h 17"/>
                <a:gd name="T14" fmla="*/ 14 w 37"/>
                <a:gd name="T15" fmla="*/ 0 h 17"/>
                <a:gd name="T16" fmla="*/ 14 w 37"/>
                <a:gd name="T17" fmla="*/ 2 h 17"/>
                <a:gd name="T18" fmla="*/ 37 w 37"/>
                <a:gd name="T19" fmla="*/ 17 h 17"/>
                <a:gd name="T20" fmla="*/ 34 w 37"/>
                <a:gd name="T21" fmla="*/ 17 h 17"/>
                <a:gd name="T22" fmla="*/ 34 w 37"/>
                <a:gd name="T23" fmla="*/ 2 h 17"/>
                <a:gd name="T24" fmla="*/ 34 w 37"/>
                <a:gd name="T25" fmla="*/ 2 h 17"/>
                <a:gd name="T26" fmla="*/ 29 w 37"/>
                <a:gd name="T27" fmla="*/ 17 h 17"/>
                <a:gd name="T28" fmla="*/ 27 w 37"/>
                <a:gd name="T29" fmla="*/ 17 h 17"/>
                <a:gd name="T30" fmla="*/ 21 w 37"/>
                <a:gd name="T31" fmla="*/ 2 h 17"/>
                <a:gd name="T32" fmla="*/ 20 w 37"/>
                <a:gd name="T33" fmla="*/ 2 h 17"/>
                <a:gd name="T34" fmla="*/ 20 w 37"/>
                <a:gd name="T35" fmla="*/ 17 h 17"/>
                <a:gd name="T36" fmla="*/ 18 w 37"/>
                <a:gd name="T37" fmla="*/ 17 h 17"/>
                <a:gd name="T38" fmla="*/ 18 w 37"/>
                <a:gd name="T39" fmla="*/ 0 h 17"/>
                <a:gd name="T40" fmla="*/ 22 w 37"/>
                <a:gd name="T41" fmla="*/ 0 h 17"/>
                <a:gd name="T42" fmla="*/ 28 w 37"/>
                <a:gd name="T43" fmla="*/ 13 h 17"/>
                <a:gd name="T44" fmla="*/ 33 w 37"/>
                <a:gd name="T45" fmla="*/ 0 h 17"/>
                <a:gd name="T46" fmla="*/ 37 w 37"/>
                <a:gd name="T47" fmla="*/ 0 h 17"/>
                <a:gd name="T48" fmla="*/ 37 w 37"/>
                <a:gd name="T4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7" h="17">
                  <a:moveTo>
                    <a:pt x="14" y="2"/>
                  </a:moveTo>
                  <a:lnTo>
                    <a:pt x="9" y="2"/>
                  </a:lnTo>
                  <a:lnTo>
                    <a:pt x="9" y="17"/>
                  </a:lnTo>
                  <a:lnTo>
                    <a:pt x="6" y="17"/>
                  </a:lnTo>
                  <a:lnTo>
                    <a:pt x="6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14" y="0"/>
                  </a:lnTo>
                  <a:lnTo>
                    <a:pt x="14" y="2"/>
                  </a:lnTo>
                  <a:close/>
                  <a:moveTo>
                    <a:pt x="37" y="17"/>
                  </a:moveTo>
                  <a:lnTo>
                    <a:pt x="34" y="17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29" y="17"/>
                  </a:lnTo>
                  <a:lnTo>
                    <a:pt x="27" y="17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17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8" y="13"/>
                  </a:lnTo>
                  <a:lnTo>
                    <a:pt x="33" y="0"/>
                  </a:lnTo>
                  <a:lnTo>
                    <a:pt x="37" y="0"/>
                  </a:lnTo>
                  <a:lnTo>
                    <a:pt x="37" y="1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sp>
        <p:nvSpPr>
          <p:cNvPr id="19" name="Text Placeholder 17"/>
          <p:cNvSpPr>
            <a:spLocks noGrp="1"/>
          </p:cNvSpPr>
          <p:nvPr>
            <p:ph type="body" sz="quarter" idx="17" hasCustomPrompt="1"/>
          </p:nvPr>
        </p:nvSpPr>
        <p:spPr>
          <a:xfrm>
            <a:off x="2351584" y="3813045"/>
            <a:ext cx="7104789" cy="672075"/>
          </a:xfrm>
        </p:spPr>
        <p:txBody>
          <a:bodyPr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133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noProof="0"/>
              <a:t>Click to edit date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2351584" y="4740989"/>
            <a:ext cx="5088565" cy="32823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133" b="0" i="0" u="none" noProof="0">
                <a:solidFill>
                  <a:schemeClr val="accent1"/>
                </a:solidFill>
                <a:latin typeface="Helvetica 75 Bold" panose="020B0804020202020204" pitchFamily="34" charset="0"/>
                <a:cs typeface="Arial" panose="020B0604020202020204" pitchFamily="34" charset="0"/>
              </a:rPr>
              <a:t>https://www.orangecyberdefense.com</a:t>
            </a:r>
          </a:p>
        </p:txBody>
      </p:sp>
      <p:grpSp>
        <p:nvGrpSpPr>
          <p:cNvPr id="40" name="Group 39"/>
          <p:cNvGrpSpPr/>
          <p:nvPr userDrawn="1"/>
        </p:nvGrpSpPr>
        <p:grpSpPr>
          <a:xfrm>
            <a:off x="2351621" y="463551"/>
            <a:ext cx="2264833" cy="660400"/>
            <a:chOff x="1763713" y="347663"/>
            <a:chExt cx="1698625" cy="495300"/>
          </a:xfrm>
        </p:grpSpPr>
        <p:sp>
          <p:nvSpPr>
            <p:cNvPr id="41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763713" y="347663"/>
              <a:ext cx="1698625" cy="495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2" name="Freeform 5"/>
            <p:cNvSpPr>
              <a:spLocks noEditPoints="1"/>
            </p:cNvSpPr>
            <p:nvPr userDrawn="1"/>
          </p:nvSpPr>
          <p:spPr bwMode="auto">
            <a:xfrm>
              <a:off x="1763713" y="347663"/>
              <a:ext cx="182563" cy="193675"/>
            </a:xfrm>
            <a:custGeom>
              <a:avLst/>
              <a:gdLst>
                <a:gd name="T0" fmla="*/ 181 w 362"/>
                <a:gd name="T1" fmla="*/ 0 h 386"/>
                <a:gd name="T2" fmla="*/ 312 w 362"/>
                <a:gd name="T3" fmla="*/ 54 h 386"/>
                <a:gd name="T4" fmla="*/ 362 w 362"/>
                <a:gd name="T5" fmla="*/ 194 h 386"/>
                <a:gd name="T6" fmla="*/ 312 w 362"/>
                <a:gd name="T7" fmla="*/ 332 h 386"/>
                <a:gd name="T8" fmla="*/ 181 w 362"/>
                <a:gd name="T9" fmla="*/ 386 h 386"/>
                <a:gd name="T10" fmla="*/ 50 w 362"/>
                <a:gd name="T11" fmla="*/ 332 h 386"/>
                <a:gd name="T12" fmla="*/ 0 w 362"/>
                <a:gd name="T13" fmla="*/ 194 h 386"/>
                <a:gd name="T14" fmla="*/ 50 w 362"/>
                <a:gd name="T15" fmla="*/ 54 h 386"/>
                <a:gd name="T16" fmla="*/ 181 w 362"/>
                <a:gd name="T17" fmla="*/ 0 h 386"/>
                <a:gd name="T18" fmla="*/ 81 w 362"/>
                <a:gd name="T19" fmla="*/ 194 h 386"/>
                <a:gd name="T20" fmla="*/ 107 w 362"/>
                <a:gd name="T21" fmla="*/ 284 h 386"/>
                <a:gd name="T22" fmla="*/ 181 w 362"/>
                <a:gd name="T23" fmla="*/ 318 h 386"/>
                <a:gd name="T24" fmla="*/ 254 w 362"/>
                <a:gd name="T25" fmla="*/ 284 h 386"/>
                <a:gd name="T26" fmla="*/ 281 w 362"/>
                <a:gd name="T27" fmla="*/ 194 h 386"/>
                <a:gd name="T28" fmla="*/ 254 w 362"/>
                <a:gd name="T29" fmla="*/ 101 h 386"/>
                <a:gd name="T30" fmla="*/ 180 w 362"/>
                <a:gd name="T31" fmla="*/ 68 h 386"/>
                <a:gd name="T32" fmla="*/ 107 w 362"/>
                <a:gd name="T33" fmla="*/ 101 h 386"/>
                <a:gd name="T34" fmla="*/ 81 w 362"/>
                <a:gd name="T35" fmla="*/ 194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62" h="386">
                  <a:moveTo>
                    <a:pt x="181" y="0"/>
                  </a:moveTo>
                  <a:cubicBezTo>
                    <a:pt x="235" y="0"/>
                    <a:pt x="279" y="18"/>
                    <a:pt x="312" y="54"/>
                  </a:cubicBezTo>
                  <a:cubicBezTo>
                    <a:pt x="345" y="90"/>
                    <a:pt x="362" y="137"/>
                    <a:pt x="362" y="194"/>
                  </a:cubicBezTo>
                  <a:cubicBezTo>
                    <a:pt x="362" y="250"/>
                    <a:pt x="345" y="296"/>
                    <a:pt x="312" y="332"/>
                  </a:cubicBezTo>
                  <a:cubicBezTo>
                    <a:pt x="279" y="368"/>
                    <a:pt x="235" y="386"/>
                    <a:pt x="181" y="386"/>
                  </a:cubicBezTo>
                  <a:cubicBezTo>
                    <a:pt x="127" y="386"/>
                    <a:pt x="83" y="368"/>
                    <a:pt x="50" y="332"/>
                  </a:cubicBezTo>
                  <a:cubicBezTo>
                    <a:pt x="16" y="296"/>
                    <a:pt x="0" y="250"/>
                    <a:pt x="0" y="194"/>
                  </a:cubicBezTo>
                  <a:cubicBezTo>
                    <a:pt x="0" y="137"/>
                    <a:pt x="17" y="91"/>
                    <a:pt x="50" y="54"/>
                  </a:cubicBezTo>
                  <a:cubicBezTo>
                    <a:pt x="83" y="18"/>
                    <a:pt x="127" y="0"/>
                    <a:pt x="181" y="0"/>
                  </a:cubicBezTo>
                  <a:close/>
                  <a:moveTo>
                    <a:pt x="81" y="194"/>
                  </a:moveTo>
                  <a:cubicBezTo>
                    <a:pt x="81" y="231"/>
                    <a:pt x="90" y="261"/>
                    <a:pt x="107" y="284"/>
                  </a:cubicBezTo>
                  <a:cubicBezTo>
                    <a:pt x="125" y="306"/>
                    <a:pt x="149" y="318"/>
                    <a:pt x="181" y="318"/>
                  </a:cubicBezTo>
                  <a:cubicBezTo>
                    <a:pt x="212" y="318"/>
                    <a:pt x="236" y="306"/>
                    <a:pt x="254" y="284"/>
                  </a:cubicBezTo>
                  <a:cubicBezTo>
                    <a:pt x="272" y="262"/>
                    <a:pt x="281" y="232"/>
                    <a:pt x="281" y="194"/>
                  </a:cubicBezTo>
                  <a:cubicBezTo>
                    <a:pt x="281" y="155"/>
                    <a:pt x="272" y="124"/>
                    <a:pt x="254" y="101"/>
                  </a:cubicBezTo>
                  <a:cubicBezTo>
                    <a:pt x="237" y="79"/>
                    <a:pt x="212" y="68"/>
                    <a:pt x="180" y="68"/>
                  </a:cubicBezTo>
                  <a:cubicBezTo>
                    <a:pt x="149" y="68"/>
                    <a:pt x="125" y="79"/>
                    <a:pt x="107" y="101"/>
                  </a:cubicBezTo>
                  <a:cubicBezTo>
                    <a:pt x="90" y="124"/>
                    <a:pt x="81" y="155"/>
                    <a:pt x="81" y="194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3" name="Freeform 6"/>
            <p:cNvSpPr>
              <a:spLocks/>
            </p:cNvSpPr>
            <p:nvPr userDrawn="1"/>
          </p:nvSpPr>
          <p:spPr bwMode="auto">
            <a:xfrm>
              <a:off x="1970088" y="400051"/>
              <a:ext cx="85725" cy="136525"/>
            </a:xfrm>
            <a:custGeom>
              <a:avLst/>
              <a:gdLst>
                <a:gd name="T0" fmla="*/ 156 w 172"/>
                <a:gd name="T1" fmla="*/ 0 h 274"/>
                <a:gd name="T2" fmla="*/ 172 w 172"/>
                <a:gd name="T3" fmla="*/ 3 h 274"/>
                <a:gd name="T4" fmla="*/ 172 w 172"/>
                <a:gd name="T5" fmla="*/ 71 h 274"/>
                <a:gd name="T6" fmla="*/ 146 w 172"/>
                <a:gd name="T7" fmla="*/ 68 h 274"/>
                <a:gd name="T8" fmla="*/ 74 w 172"/>
                <a:gd name="T9" fmla="*/ 154 h 274"/>
                <a:gd name="T10" fmla="*/ 74 w 172"/>
                <a:gd name="T11" fmla="*/ 274 h 274"/>
                <a:gd name="T12" fmla="*/ 0 w 172"/>
                <a:gd name="T13" fmla="*/ 274 h 274"/>
                <a:gd name="T14" fmla="*/ 0 w 172"/>
                <a:gd name="T15" fmla="*/ 7 h 274"/>
                <a:gd name="T16" fmla="*/ 70 w 172"/>
                <a:gd name="T17" fmla="*/ 7 h 274"/>
                <a:gd name="T18" fmla="*/ 70 w 172"/>
                <a:gd name="T19" fmla="*/ 57 h 274"/>
                <a:gd name="T20" fmla="*/ 71 w 172"/>
                <a:gd name="T21" fmla="*/ 57 h 274"/>
                <a:gd name="T22" fmla="*/ 105 w 172"/>
                <a:gd name="T23" fmla="*/ 15 h 274"/>
                <a:gd name="T24" fmla="*/ 156 w 172"/>
                <a:gd name="T2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74">
                  <a:moveTo>
                    <a:pt x="156" y="0"/>
                  </a:moveTo>
                  <a:cubicBezTo>
                    <a:pt x="162" y="0"/>
                    <a:pt x="168" y="1"/>
                    <a:pt x="172" y="3"/>
                  </a:cubicBezTo>
                  <a:cubicBezTo>
                    <a:pt x="172" y="71"/>
                    <a:pt x="172" y="71"/>
                    <a:pt x="172" y="71"/>
                  </a:cubicBezTo>
                  <a:cubicBezTo>
                    <a:pt x="164" y="69"/>
                    <a:pt x="155" y="68"/>
                    <a:pt x="146" y="68"/>
                  </a:cubicBezTo>
                  <a:cubicBezTo>
                    <a:pt x="98" y="68"/>
                    <a:pt x="74" y="97"/>
                    <a:pt x="74" y="154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7"/>
                    <a:pt x="71" y="57"/>
                    <a:pt x="71" y="57"/>
                  </a:cubicBezTo>
                  <a:cubicBezTo>
                    <a:pt x="78" y="40"/>
                    <a:pt x="90" y="26"/>
                    <a:pt x="105" y="15"/>
                  </a:cubicBezTo>
                  <a:cubicBezTo>
                    <a:pt x="121" y="5"/>
                    <a:pt x="138" y="0"/>
                    <a:pt x="156" y="0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4" name="Freeform 7"/>
            <p:cNvSpPr>
              <a:spLocks noEditPoints="1"/>
            </p:cNvSpPr>
            <p:nvPr userDrawn="1"/>
          </p:nvSpPr>
          <p:spPr bwMode="auto">
            <a:xfrm>
              <a:off x="2060576" y="400051"/>
              <a:ext cx="130175" cy="139700"/>
            </a:xfrm>
            <a:custGeom>
              <a:avLst/>
              <a:gdLst>
                <a:gd name="T0" fmla="*/ 134 w 260"/>
                <a:gd name="T1" fmla="*/ 0 h 281"/>
                <a:gd name="T2" fmla="*/ 251 w 260"/>
                <a:gd name="T3" fmla="*/ 76 h 281"/>
                <a:gd name="T4" fmla="*/ 251 w 260"/>
                <a:gd name="T5" fmla="*/ 217 h 281"/>
                <a:gd name="T6" fmla="*/ 260 w 260"/>
                <a:gd name="T7" fmla="*/ 274 h 281"/>
                <a:gd name="T8" fmla="*/ 186 w 260"/>
                <a:gd name="T9" fmla="*/ 274 h 281"/>
                <a:gd name="T10" fmla="*/ 180 w 260"/>
                <a:gd name="T11" fmla="*/ 248 h 281"/>
                <a:gd name="T12" fmla="*/ 91 w 260"/>
                <a:gd name="T13" fmla="*/ 281 h 281"/>
                <a:gd name="T14" fmla="*/ 24 w 260"/>
                <a:gd name="T15" fmla="*/ 260 h 281"/>
                <a:gd name="T16" fmla="*/ 0 w 260"/>
                <a:gd name="T17" fmla="*/ 201 h 281"/>
                <a:gd name="T18" fmla="*/ 23 w 260"/>
                <a:gd name="T19" fmla="*/ 144 h 281"/>
                <a:gd name="T20" fmla="*/ 109 w 260"/>
                <a:gd name="T21" fmla="*/ 118 h 281"/>
                <a:gd name="T22" fmla="*/ 165 w 260"/>
                <a:gd name="T23" fmla="*/ 106 h 281"/>
                <a:gd name="T24" fmla="*/ 177 w 260"/>
                <a:gd name="T25" fmla="*/ 85 h 281"/>
                <a:gd name="T26" fmla="*/ 166 w 260"/>
                <a:gd name="T27" fmla="*/ 58 h 281"/>
                <a:gd name="T28" fmla="*/ 130 w 260"/>
                <a:gd name="T29" fmla="*/ 49 h 281"/>
                <a:gd name="T30" fmla="*/ 95 w 260"/>
                <a:gd name="T31" fmla="*/ 59 h 281"/>
                <a:gd name="T32" fmla="*/ 81 w 260"/>
                <a:gd name="T33" fmla="*/ 89 h 281"/>
                <a:gd name="T34" fmla="*/ 8 w 260"/>
                <a:gd name="T35" fmla="*/ 89 h 281"/>
                <a:gd name="T36" fmla="*/ 44 w 260"/>
                <a:gd name="T37" fmla="*/ 23 h 281"/>
                <a:gd name="T38" fmla="*/ 134 w 260"/>
                <a:gd name="T39" fmla="*/ 0 h 281"/>
                <a:gd name="T40" fmla="*/ 73 w 260"/>
                <a:gd name="T41" fmla="*/ 198 h 281"/>
                <a:gd name="T42" fmla="*/ 118 w 260"/>
                <a:gd name="T43" fmla="*/ 232 h 281"/>
                <a:gd name="T44" fmla="*/ 177 w 260"/>
                <a:gd name="T45" fmla="*/ 172 h 281"/>
                <a:gd name="T46" fmla="*/ 177 w 260"/>
                <a:gd name="T47" fmla="*/ 143 h 281"/>
                <a:gd name="T48" fmla="*/ 133 w 260"/>
                <a:gd name="T49" fmla="*/ 156 h 281"/>
                <a:gd name="T50" fmla="*/ 88 w 260"/>
                <a:gd name="T51" fmla="*/ 169 h 281"/>
                <a:gd name="T52" fmla="*/ 73 w 260"/>
                <a:gd name="T53" fmla="*/ 198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0" h="281">
                  <a:moveTo>
                    <a:pt x="134" y="0"/>
                  </a:moveTo>
                  <a:cubicBezTo>
                    <a:pt x="212" y="0"/>
                    <a:pt x="251" y="26"/>
                    <a:pt x="251" y="76"/>
                  </a:cubicBezTo>
                  <a:cubicBezTo>
                    <a:pt x="251" y="217"/>
                    <a:pt x="251" y="217"/>
                    <a:pt x="251" y="217"/>
                  </a:cubicBezTo>
                  <a:cubicBezTo>
                    <a:pt x="251" y="243"/>
                    <a:pt x="254" y="262"/>
                    <a:pt x="260" y="274"/>
                  </a:cubicBezTo>
                  <a:cubicBezTo>
                    <a:pt x="186" y="274"/>
                    <a:pt x="186" y="274"/>
                    <a:pt x="186" y="274"/>
                  </a:cubicBezTo>
                  <a:cubicBezTo>
                    <a:pt x="183" y="266"/>
                    <a:pt x="181" y="257"/>
                    <a:pt x="180" y="248"/>
                  </a:cubicBezTo>
                  <a:cubicBezTo>
                    <a:pt x="159" y="270"/>
                    <a:pt x="129" y="281"/>
                    <a:pt x="91" y="281"/>
                  </a:cubicBezTo>
                  <a:cubicBezTo>
                    <a:pt x="63" y="281"/>
                    <a:pt x="41" y="274"/>
                    <a:pt x="24" y="260"/>
                  </a:cubicBezTo>
                  <a:cubicBezTo>
                    <a:pt x="8" y="246"/>
                    <a:pt x="0" y="226"/>
                    <a:pt x="0" y="201"/>
                  </a:cubicBezTo>
                  <a:cubicBezTo>
                    <a:pt x="0" y="177"/>
                    <a:pt x="8" y="158"/>
                    <a:pt x="23" y="144"/>
                  </a:cubicBezTo>
                  <a:cubicBezTo>
                    <a:pt x="39" y="130"/>
                    <a:pt x="68" y="121"/>
                    <a:pt x="109" y="118"/>
                  </a:cubicBezTo>
                  <a:cubicBezTo>
                    <a:pt x="139" y="114"/>
                    <a:pt x="158" y="111"/>
                    <a:pt x="165" y="106"/>
                  </a:cubicBezTo>
                  <a:cubicBezTo>
                    <a:pt x="173" y="101"/>
                    <a:pt x="177" y="94"/>
                    <a:pt x="177" y="85"/>
                  </a:cubicBezTo>
                  <a:cubicBezTo>
                    <a:pt x="177" y="73"/>
                    <a:pt x="174" y="64"/>
                    <a:pt x="166" y="58"/>
                  </a:cubicBezTo>
                  <a:cubicBezTo>
                    <a:pt x="159" y="52"/>
                    <a:pt x="147" y="49"/>
                    <a:pt x="130" y="49"/>
                  </a:cubicBezTo>
                  <a:cubicBezTo>
                    <a:pt x="115" y="49"/>
                    <a:pt x="103" y="52"/>
                    <a:pt x="95" y="59"/>
                  </a:cubicBezTo>
                  <a:cubicBezTo>
                    <a:pt x="87" y="65"/>
                    <a:pt x="83" y="75"/>
                    <a:pt x="81" y="89"/>
                  </a:cubicBezTo>
                  <a:cubicBezTo>
                    <a:pt x="8" y="89"/>
                    <a:pt x="8" y="89"/>
                    <a:pt x="8" y="89"/>
                  </a:cubicBezTo>
                  <a:cubicBezTo>
                    <a:pt x="10" y="60"/>
                    <a:pt x="22" y="38"/>
                    <a:pt x="44" y="23"/>
                  </a:cubicBezTo>
                  <a:cubicBezTo>
                    <a:pt x="67" y="8"/>
                    <a:pt x="96" y="0"/>
                    <a:pt x="134" y="0"/>
                  </a:cubicBezTo>
                  <a:close/>
                  <a:moveTo>
                    <a:pt x="73" y="198"/>
                  </a:moveTo>
                  <a:cubicBezTo>
                    <a:pt x="73" y="221"/>
                    <a:pt x="88" y="232"/>
                    <a:pt x="118" y="232"/>
                  </a:cubicBezTo>
                  <a:cubicBezTo>
                    <a:pt x="157" y="232"/>
                    <a:pt x="177" y="212"/>
                    <a:pt x="177" y="172"/>
                  </a:cubicBezTo>
                  <a:cubicBezTo>
                    <a:pt x="177" y="143"/>
                    <a:pt x="177" y="143"/>
                    <a:pt x="177" y="143"/>
                  </a:cubicBezTo>
                  <a:cubicBezTo>
                    <a:pt x="171" y="149"/>
                    <a:pt x="157" y="153"/>
                    <a:pt x="133" y="156"/>
                  </a:cubicBezTo>
                  <a:cubicBezTo>
                    <a:pt x="112" y="159"/>
                    <a:pt x="97" y="163"/>
                    <a:pt x="88" y="169"/>
                  </a:cubicBezTo>
                  <a:cubicBezTo>
                    <a:pt x="78" y="175"/>
                    <a:pt x="73" y="185"/>
                    <a:pt x="73" y="198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5" name="Freeform 8"/>
            <p:cNvSpPr>
              <a:spLocks/>
            </p:cNvSpPr>
            <p:nvPr userDrawn="1"/>
          </p:nvSpPr>
          <p:spPr bwMode="auto">
            <a:xfrm>
              <a:off x="2214563" y="400051"/>
              <a:ext cx="125413" cy="136525"/>
            </a:xfrm>
            <a:custGeom>
              <a:avLst/>
              <a:gdLst>
                <a:gd name="T0" fmla="*/ 153 w 250"/>
                <a:gd name="T1" fmla="*/ 0 h 274"/>
                <a:gd name="T2" fmla="*/ 227 w 250"/>
                <a:gd name="T3" fmla="*/ 26 h 274"/>
                <a:gd name="T4" fmla="*/ 250 w 250"/>
                <a:gd name="T5" fmla="*/ 108 h 274"/>
                <a:gd name="T6" fmla="*/ 250 w 250"/>
                <a:gd name="T7" fmla="*/ 274 h 274"/>
                <a:gd name="T8" fmla="*/ 177 w 250"/>
                <a:gd name="T9" fmla="*/ 274 h 274"/>
                <a:gd name="T10" fmla="*/ 177 w 250"/>
                <a:gd name="T11" fmla="*/ 123 h 274"/>
                <a:gd name="T12" fmla="*/ 167 w 250"/>
                <a:gd name="T13" fmla="*/ 74 h 274"/>
                <a:gd name="T14" fmla="*/ 130 w 250"/>
                <a:gd name="T15" fmla="*/ 58 h 274"/>
                <a:gd name="T16" fmla="*/ 87 w 250"/>
                <a:gd name="T17" fmla="*/ 76 h 274"/>
                <a:gd name="T18" fmla="*/ 73 w 250"/>
                <a:gd name="T19" fmla="*/ 135 h 274"/>
                <a:gd name="T20" fmla="*/ 73 w 250"/>
                <a:gd name="T21" fmla="*/ 274 h 274"/>
                <a:gd name="T22" fmla="*/ 0 w 250"/>
                <a:gd name="T23" fmla="*/ 274 h 274"/>
                <a:gd name="T24" fmla="*/ 0 w 250"/>
                <a:gd name="T25" fmla="*/ 7 h 274"/>
                <a:gd name="T26" fmla="*/ 70 w 250"/>
                <a:gd name="T27" fmla="*/ 7 h 274"/>
                <a:gd name="T28" fmla="*/ 70 w 250"/>
                <a:gd name="T29" fmla="*/ 44 h 274"/>
                <a:gd name="T30" fmla="*/ 71 w 250"/>
                <a:gd name="T31" fmla="*/ 44 h 274"/>
                <a:gd name="T32" fmla="*/ 153 w 250"/>
                <a:gd name="T3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0" h="274">
                  <a:moveTo>
                    <a:pt x="153" y="0"/>
                  </a:moveTo>
                  <a:cubicBezTo>
                    <a:pt x="187" y="0"/>
                    <a:pt x="212" y="9"/>
                    <a:pt x="227" y="26"/>
                  </a:cubicBezTo>
                  <a:cubicBezTo>
                    <a:pt x="243" y="43"/>
                    <a:pt x="250" y="70"/>
                    <a:pt x="250" y="108"/>
                  </a:cubicBezTo>
                  <a:cubicBezTo>
                    <a:pt x="250" y="274"/>
                    <a:pt x="250" y="274"/>
                    <a:pt x="250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123"/>
                    <a:pt x="177" y="123"/>
                    <a:pt x="177" y="123"/>
                  </a:cubicBezTo>
                  <a:cubicBezTo>
                    <a:pt x="177" y="101"/>
                    <a:pt x="174" y="84"/>
                    <a:pt x="167" y="74"/>
                  </a:cubicBezTo>
                  <a:cubicBezTo>
                    <a:pt x="160" y="63"/>
                    <a:pt x="147" y="58"/>
                    <a:pt x="130" y="58"/>
                  </a:cubicBezTo>
                  <a:cubicBezTo>
                    <a:pt x="110" y="58"/>
                    <a:pt x="96" y="64"/>
                    <a:pt x="87" y="76"/>
                  </a:cubicBezTo>
                  <a:cubicBezTo>
                    <a:pt x="78" y="88"/>
                    <a:pt x="73" y="108"/>
                    <a:pt x="73" y="135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90" y="15"/>
                    <a:pt x="117" y="0"/>
                    <a:pt x="153" y="0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6" name="Freeform 9"/>
            <p:cNvSpPr>
              <a:spLocks noEditPoints="1"/>
            </p:cNvSpPr>
            <p:nvPr userDrawn="1"/>
          </p:nvSpPr>
          <p:spPr bwMode="auto">
            <a:xfrm>
              <a:off x="2365376" y="400051"/>
              <a:ext cx="131763" cy="187325"/>
            </a:xfrm>
            <a:custGeom>
              <a:avLst/>
              <a:gdLst>
                <a:gd name="T0" fmla="*/ 114 w 264"/>
                <a:gd name="T1" fmla="*/ 0 h 375"/>
                <a:gd name="T2" fmla="*/ 194 w 264"/>
                <a:gd name="T3" fmla="*/ 43 h 375"/>
                <a:gd name="T4" fmla="*/ 195 w 264"/>
                <a:gd name="T5" fmla="*/ 43 h 375"/>
                <a:gd name="T6" fmla="*/ 195 w 264"/>
                <a:gd name="T7" fmla="*/ 7 h 375"/>
                <a:gd name="T8" fmla="*/ 264 w 264"/>
                <a:gd name="T9" fmla="*/ 7 h 375"/>
                <a:gd name="T10" fmla="*/ 264 w 264"/>
                <a:gd name="T11" fmla="*/ 257 h 375"/>
                <a:gd name="T12" fmla="*/ 229 w 264"/>
                <a:gd name="T13" fmla="*/ 345 h 375"/>
                <a:gd name="T14" fmla="*/ 127 w 264"/>
                <a:gd name="T15" fmla="*/ 375 h 375"/>
                <a:gd name="T16" fmla="*/ 43 w 264"/>
                <a:gd name="T17" fmla="*/ 351 h 375"/>
                <a:gd name="T18" fmla="*/ 9 w 264"/>
                <a:gd name="T19" fmla="*/ 289 h 375"/>
                <a:gd name="T20" fmla="*/ 81 w 264"/>
                <a:gd name="T21" fmla="*/ 289 h 375"/>
                <a:gd name="T22" fmla="*/ 136 w 264"/>
                <a:gd name="T23" fmla="*/ 326 h 375"/>
                <a:gd name="T24" fmla="*/ 180 w 264"/>
                <a:gd name="T25" fmla="*/ 309 h 375"/>
                <a:gd name="T26" fmla="*/ 195 w 264"/>
                <a:gd name="T27" fmla="*/ 261 h 375"/>
                <a:gd name="T28" fmla="*/ 195 w 264"/>
                <a:gd name="T29" fmla="*/ 225 h 375"/>
                <a:gd name="T30" fmla="*/ 194 w 264"/>
                <a:gd name="T31" fmla="*/ 225 h 375"/>
                <a:gd name="T32" fmla="*/ 162 w 264"/>
                <a:gd name="T33" fmla="*/ 255 h 375"/>
                <a:gd name="T34" fmla="*/ 114 w 264"/>
                <a:gd name="T35" fmla="*/ 266 h 375"/>
                <a:gd name="T36" fmla="*/ 30 w 264"/>
                <a:gd name="T37" fmla="*/ 231 h 375"/>
                <a:gd name="T38" fmla="*/ 0 w 264"/>
                <a:gd name="T39" fmla="*/ 132 h 375"/>
                <a:gd name="T40" fmla="*/ 32 w 264"/>
                <a:gd name="T41" fmla="*/ 38 h 375"/>
                <a:gd name="T42" fmla="*/ 114 w 264"/>
                <a:gd name="T43" fmla="*/ 0 h 375"/>
                <a:gd name="T44" fmla="*/ 73 w 264"/>
                <a:gd name="T45" fmla="*/ 131 h 375"/>
                <a:gd name="T46" fmla="*/ 89 w 264"/>
                <a:gd name="T47" fmla="*/ 190 h 375"/>
                <a:gd name="T48" fmla="*/ 132 w 264"/>
                <a:gd name="T49" fmla="*/ 211 h 375"/>
                <a:gd name="T50" fmla="*/ 178 w 264"/>
                <a:gd name="T51" fmla="*/ 191 h 375"/>
                <a:gd name="T52" fmla="*/ 195 w 264"/>
                <a:gd name="T53" fmla="*/ 137 h 375"/>
                <a:gd name="T54" fmla="*/ 179 w 264"/>
                <a:gd name="T55" fmla="*/ 76 h 375"/>
                <a:gd name="T56" fmla="*/ 132 w 264"/>
                <a:gd name="T57" fmla="*/ 55 h 375"/>
                <a:gd name="T58" fmla="*/ 88 w 264"/>
                <a:gd name="T59" fmla="*/ 77 h 375"/>
                <a:gd name="T60" fmla="*/ 73 w 264"/>
                <a:gd name="T61" fmla="*/ 1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4" h="375">
                  <a:moveTo>
                    <a:pt x="114" y="0"/>
                  </a:moveTo>
                  <a:cubicBezTo>
                    <a:pt x="151" y="0"/>
                    <a:pt x="178" y="14"/>
                    <a:pt x="194" y="43"/>
                  </a:cubicBezTo>
                  <a:cubicBezTo>
                    <a:pt x="195" y="43"/>
                    <a:pt x="195" y="43"/>
                    <a:pt x="195" y="43"/>
                  </a:cubicBezTo>
                  <a:cubicBezTo>
                    <a:pt x="195" y="7"/>
                    <a:pt x="195" y="7"/>
                    <a:pt x="195" y="7"/>
                  </a:cubicBezTo>
                  <a:cubicBezTo>
                    <a:pt x="264" y="7"/>
                    <a:pt x="264" y="7"/>
                    <a:pt x="264" y="7"/>
                  </a:cubicBezTo>
                  <a:cubicBezTo>
                    <a:pt x="264" y="257"/>
                    <a:pt x="264" y="257"/>
                    <a:pt x="264" y="257"/>
                  </a:cubicBezTo>
                  <a:cubicBezTo>
                    <a:pt x="264" y="296"/>
                    <a:pt x="252" y="325"/>
                    <a:pt x="229" y="345"/>
                  </a:cubicBezTo>
                  <a:cubicBezTo>
                    <a:pt x="205" y="365"/>
                    <a:pt x="171" y="375"/>
                    <a:pt x="127" y="375"/>
                  </a:cubicBezTo>
                  <a:cubicBezTo>
                    <a:pt x="93" y="375"/>
                    <a:pt x="65" y="367"/>
                    <a:pt x="43" y="351"/>
                  </a:cubicBezTo>
                  <a:cubicBezTo>
                    <a:pt x="22" y="334"/>
                    <a:pt x="10" y="314"/>
                    <a:pt x="9" y="289"/>
                  </a:cubicBezTo>
                  <a:cubicBezTo>
                    <a:pt x="81" y="289"/>
                    <a:pt x="81" y="289"/>
                    <a:pt x="81" y="289"/>
                  </a:cubicBezTo>
                  <a:cubicBezTo>
                    <a:pt x="87" y="314"/>
                    <a:pt x="105" y="326"/>
                    <a:pt x="136" y="326"/>
                  </a:cubicBezTo>
                  <a:cubicBezTo>
                    <a:pt x="155" y="326"/>
                    <a:pt x="169" y="320"/>
                    <a:pt x="180" y="309"/>
                  </a:cubicBezTo>
                  <a:cubicBezTo>
                    <a:pt x="190" y="298"/>
                    <a:pt x="195" y="282"/>
                    <a:pt x="195" y="261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194" y="225"/>
                    <a:pt x="194" y="225"/>
                    <a:pt x="194" y="225"/>
                  </a:cubicBezTo>
                  <a:cubicBezTo>
                    <a:pt x="186" y="238"/>
                    <a:pt x="176" y="248"/>
                    <a:pt x="162" y="255"/>
                  </a:cubicBezTo>
                  <a:cubicBezTo>
                    <a:pt x="148" y="262"/>
                    <a:pt x="132" y="266"/>
                    <a:pt x="114" y="266"/>
                  </a:cubicBezTo>
                  <a:cubicBezTo>
                    <a:pt x="78" y="266"/>
                    <a:pt x="50" y="254"/>
                    <a:pt x="30" y="231"/>
                  </a:cubicBezTo>
                  <a:cubicBezTo>
                    <a:pt x="10" y="208"/>
                    <a:pt x="0" y="175"/>
                    <a:pt x="0" y="132"/>
                  </a:cubicBezTo>
                  <a:cubicBezTo>
                    <a:pt x="0" y="94"/>
                    <a:pt x="10" y="63"/>
                    <a:pt x="32" y="38"/>
                  </a:cubicBezTo>
                  <a:cubicBezTo>
                    <a:pt x="53" y="13"/>
                    <a:pt x="80" y="0"/>
                    <a:pt x="114" y="0"/>
                  </a:cubicBezTo>
                  <a:close/>
                  <a:moveTo>
                    <a:pt x="73" y="131"/>
                  </a:moveTo>
                  <a:cubicBezTo>
                    <a:pt x="73" y="156"/>
                    <a:pt x="78" y="176"/>
                    <a:pt x="89" y="190"/>
                  </a:cubicBezTo>
                  <a:cubicBezTo>
                    <a:pt x="99" y="204"/>
                    <a:pt x="114" y="211"/>
                    <a:pt x="132" y="211"/>
                  </a:cubicBezTo>
                  <a:cubicBezTo>
                    <a:pt x="151" y="211"/>
                    <a:pt x="166" y="204"/>
                    <a:pt x="178" y="191"/>
                  </a:cubicBezTo>
                  <a:cubicBezTo>
                    <a:pt x="189" y="177"/>
                    <a:pt x="195" y="159"/>
                    <a:pt x="195" y="137"/>
                  </a:cubicBezTo>
                  <a:cubicBezTo>
                    <a:pt x="195" y="110"/>
                    <a:pt x="189" y="90"/>
                    <a:pt x="179" y="76"/>
                  </a:cubicBezTo>
                  <a:cubicBezTo>
                    <a:pt x="168" y="62"/>
                    <a:pt x="152" y="55"/>
                    <a:pt x="132" y="55"/>
                  </a:cubicBezTo>
                  <a:cubicBezTo>
                    <a:pt x="113" y="55"/>
                    <a:pt x="98" y="62"/>
                    <a:pt x="88" y="77"/>
                  </a:cubicBezTo>
                  <a:cubicBezTo>
                    <a:pt x="78" y="91"/>
                    <a:pt x="73" y="109"/>
                    <a:pt x="73" y="131"/>
                  </a:cubicBez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7" name="Freeform 10"/>
            <p:cNvSpPr>
              <a:spLocks noEditPoints="1"/>
            </p:cNvSpPr>
            <p:nvPr userDrawn="1"/>
          </p:nvSpPr>
          <p:spPr bwMode="auto">
            <a:xfrm>
              <a:off x="2520951" y="400051"/>
              <a:ext cx="133350" cy="139700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8 h 281"/>
                <a:gd name="T4" fmla="*/ 250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9 w 266"/>
                <a:gd name="T25" fmla="*/ 265 h 281"/>
                <a:gd name="T26" fmla="*/ 19 w 266"/>
                <a:gd name="T27" fmla="*/ 217 h 281"/>
                <a:gd name="T28" fmla="*/ 0 w 266"/>
                <a:gd name="T29" fmla="*/ 141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3 w 266"/>
                <a:gd name="T37" fmla="*/ 112 h 281"/>
                <a:gd name="T38" fmla="*/ 174 w 266"/>
                <a:gd name="T39" fmla="*/ 69 h 281"/>
                <a:gd name="T40" fmla="*/ 134 w 266"/>
                <a:gd name="T41" fmla="*/ 55 h 281"/>
                <a:gd name="T42" fmla="*/ 92 w 266"/>
                <a:gd name="T43" fmla="*/ 70 h 281"/>
                <a:gd name="T44" fmla="*/ 73 w 266"/>
                <a:gd name="T45" fmla="*/ 112 h 281"/>
                <a:gd name="T46" fmla="*/ 193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2" y="0"/>
                    <a:pt x="184" y="6"/>
                    <a:pt x="203" y="18"/>
                  </a:cubicBezTo>
                  <a:cubicBezTo>
                    <a:pt x="223" y="29"/>
                    <a:pt x="238" y="46"/>
                    <a:pt x="250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8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80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3"/>
                    <a:pt x="175" y="216"/>
                  </a:cubicBezTo>
                  <a:cubicBezTo>
                    <a:pt x="187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1"/>
                    <a:pt x="89" y="275"/>
                    <a:pt x="69" y="265"/>
                  </a:cubicBezTo>
                  <a:cubicBezTo>
                    <a:pt x="48" y="255"/>
                    <a:pt x="31" y="239"/>
                    <a:pt x="19" y="217"/>
                  </a:cubicBezTo>
                  <a:cubicBezTo>
                    <a:pt x="6" y="195"/>
                    <a:pt x="0" y="170"/>
                    <a:pt x="0" y="141"/>
                  </a:cubicBezTo>
                  <a:cubicBezTo>
                    <a:pt x="0" y="114"/>
                    <a:pt x="7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8"/>
                    <a:pt x="174" y="69"/>
                  </a:cubicBezTo>
                  <a:cubicBezTo>
                    <a:pt x="164" y="60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1"/>
                    <a:pt x="75" y="94"/>
                    <a:pt x="73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rgbClr val="FF79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8" name="Freeform 11"/>
            <p:cNvSpPr>
              <a:spLocks/>
            </p:cNvSpPr>
            <p:nvPr userDrawn="1"/>
          </p:nvSpPr>
          <p:spPr bwMode="auto">
            <a:xfrm>
              <a:off x="1763713" y="606426"/>
              <a:ext cx="173038" cy="193675"/>
            </a:xfrm>
            <a:custGeom>
              <a:avLst/>
              <a:gdLst>
                <a:gd name="T0" fmla="*/ 181 w 343"/>
                <a:gd name="T1" fmla="*/ 0 h 385"/>
                <a:gd name="T2" fmla="*/ 289 w 343"/>
                <a:gd name="T3" fmla="*/ 36 h 385"/>
                <a:gd name="T4" fmla="*/ 340 w 343"/>
                <a:gd name="T5" fmla="*/ 132 h 385"/>
                <a:gd name="T6" fmla="*/ 261 w 343"/>
                <a:gd name="T7" fmla="*/ 132 h 385"/>
                <a:gd name="T8" fmla="*/ 234 w 343"/>
                <a:gd name="T9" fmla="*/ 86 h 385"/>
                <a:gd name="T10" fmla="*/ 181 w 343"/>
                <a:gd name="T11" fmla="*/ 68 h 385"/>
                <a:gd name="T12" fmla="*/ 107 w 343"/>
                <a:gd name="T13" fmla="*/ 102 h 385"/>
                <a:gd name="T14" fmla="*/ 81 w 343"/>
                <a:gd name="T15" fmla="*/ 194 h 385"/>
                <a:gd name="T16" fmla="*/ 107 w 343"/>
                <a:gd name="T17" fmla="*/ 284 h 385"/>
                <a:gd name="T18" fmla="*/ 181 w 343"/>
                <a:gd name="T19" fmla="*/ 317 h 385"/>
                <a:gd name="T20" fmla="*/ 238 w 343"/>
                <a:gd name="T21" fmla="*/ 296 h 385"/>
                <a:gd name="T22" fmla="*/ 264 w 343"/>
                <a:gd name="T23" fmla="*/ 235 h 385"/>
                <a:gd name="T24" fmla="*/ 343 w 343"/>
                <a:gd name="T25" fmla="*/ 235 h 385"/>
                <a:gd name="T26" fmla="*/ 293 w 343"/>
                <a:gd name="T27" fmla="*/ 345 h 385"/>
                <a:gd name="T28" fmla="*/ 181 w 343"/>
                <a:gd name="T29" fmla="*/ 385 h 385"/>
                <a:gd name="T30" fmla="*/ 50 w 343"/>
                <a:gd name="T31" fmla="*/ 332 h 385"/>
                <a:gd name="T32" fmla="*/ 0 w 343"/>
                <a:gd name="T33" fmla="*/ 194 h 385"/>
                <a:gd name="T34" fmla="*/ 49 w 343"/>
                <a:gd name="T35" fmla="*/ 54 h 385"/>
                <a:gd name="T36" fmla="*/ 181 w 343"/>
                <a:gd name="T37" fmla="*/ 0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3" h="385">
                  <a:moveTo>
                    <a:pt x="181" y="0"/>
                  </a:moveTo>
                  <a:cubicBezTo>
                    <a:pt x="224" y="0"/>
                    <a:pt x="260" y="12"/>
                    <a:pt x="289" y="36"/>
                  </a:cubicBezTo>
                  <a:cubicBezTo>
                    <a:pt x="318" y="60"/>
                    <a:pt x="335" y="92"/>
                    <a:pt x="340" y="132"/>
                  </a:cubicBezTo>
                  <a:cubicBezTo>
                    <a:pt x="261" y="132"/>
                    <a:pt x="261" y="132"/>
                    <a:pt x="261" y="132"/>
                  </a:cubicBezTo>
                  <a:cubicBezTo>
                    <a:pt x="259" y="114"/>
                    <a:pt x="249" y="99"/>
                    <a:pt x="234" y="86"/>
                  </a:cubicBezTo>
                  <a:cubicBezTo>
                    <a:pt x="219" y="74"/>
                    <a:pt x="201" y="68"/>
                    <a:pt x="181" y="68"/>
                  </a:cubicBezTo>
                  <a:cubicBezTo>
                    <a:pt x="149" y="68"/>
                    <a:pt x="125" y="79"/>
                    <a:pt x="107" y="102"/>
                  </a:cubicBezTo>
                  <a:cubicBezTo>
                    <a:pt x="90" y="124"/>
                    <a:pt x="81" y="155"/>
                    <a:pt x="81" y="194"/>
                  </a:cubicBezTo>
                  <a:cubicBezTo>
                    <a:pt x="81" y="232"/>
                    <a:pt x="90" y="262"/>
                    <a:pt x="107" y="284"/>
                  </a:cubicBezTo>
                  <a:cubicBezTo>
                    <a:pt x="125" y="306"/>
                    <a:pt x="150" y="317"/>
                    <a:pt x="181" y="317"/>
                  </a:cubicBezTo>
                  <a:cubicBezTo>
                    <a:pt x="204" y="317"/>
                    <a:pt x="223" y="310"/>
                    <a:pt x="238" y="296"/>
                  </a:cubicBezTo>
                  <a:cubicBezTo>
                    <a:pt x="252" y="282"/>
                    <a:pt x="261" y="261"/>
                    <a:pt x="264" y="235"/>
                  </a:cubicBezTo>
                  <a:cubicBezTo>
                    <a:pt x="343" y="235"/>
                    <a:pt x="343" y="235"/>
                    <a:pt x="343" y="235"/>
                  </a:cubicBezTo>
                  <a:cubicBezTo>
                    <a:pt x="339" y="281"/>
                    <a:pt x="322" y="318"/>
                    <a:pt x="293" y="345"/>
                  </a:cubicBezTo>
                  <a:cubicBezTo>
                    <a:pt x="263" y="372"/>
                    <a:pt x="226" y="385"/>
                    <a:pt x="181" y="385"/>
                  </a:cubicBezTo>
                  <a:cubicBezTo>
                    <a:pt x="127" y="385"/>
                    <a:pt x="83" y="368"/>
                    <a:pt x="50" y="332"/>
                  </a:cubicBezTo>
                  <a:cubicBezTo>
                    <a:pt x="17" y="296"/>
                    <a:pt x="0" y="250"/>
                    <a:pt x="0" y="194"/>
                  </a:cubicBezTo>
                  <a:cubicBezTo>
                    <a:pt x="0" y="137"/>
                    <a:pt x="16" y="90"/>
                    <a:pt x="49" y="54"/>
                  </a:cubicBezTo>
                  <a:cubicBezTo>
                    <a:pt x="82" y="18"/>
                    <a:pt x="126" y="0"/>
                    <a:pt x="18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49" name="Freeform 12"/>
            <p:cNvSpPr>
              <a:spLocks/>
            </p:cNvSpPr>
            <p:nvPr userDrawn="1"/>
          </p:nvSpPr>
          <p:spPr bwMode="auto">
            <a:xfrm>
              <a:off x="1944688" y="661988"/>
              <a:ext cx="136525" cy="180975"/>
            </a:xfrm>
            <a:custGeom>
              <a:avLst/>
              <a:gdLst>
                <a:gd name="T0" fmla="*/ 79 w 274"/>
                <a:gd name="T1" fmla="*/ 0 h 360"/>
                <a:gd name="T2" fmla="*/ 139 w 274"/>
                <a:gd name="T3" fmla="*/ 182 h 360"/>
                <a:gd name="T4" fmla="*/ 140 w 274"/>
                <a:gd name="T5" fmla="*/ 182 h 360"/>
                <a:gd name="T6" fmla="*/ 198 w 274"/>
                <a:gd name="T7" fmla="*/ 0 h 360"/>
                <a:gd name="T8" fmla="*/ 274 w 274"/>
                <a:gd name="T9" fmla="*/ 0 h 360"/>
                <a:gd name="T10" fmla="*/ 163 w 274"/>
                <a:gd name="T11" fmla="*/ 300 h 360"/>
                <a:gd name="T12" fmla="*/ 130 w 274"/>
                <a:gd name="T13" fmla="*/ 346 h 360"/>
                <a:gd name="T14" fmla="*/ 72 w 274"/>
                <a:gd name="T15" fmla="*/ 360 h 360"/>
                <a:gd name="T16" fmla="*/ 26 w 274"/>
                <a:gd name="T17" fmla="*/ 358 h 360"/>
                <a:gd name="T18" fmla="*/ 26 w 274"/>
                <a:gd name="T19" fmla="*/ 297 h 360"/>
                <a:gd name="T20" fmla="*/ 65 w 274"/>
                <a:gd name="T21" fmla="*/ 300 h 360"/>
                <a:gd name="T22" fmla="*/ 89 w 274"/>
                <a:gd name="T23" fmla="*/ 291 h 360"/>
                <a:gd name="T24" fmla="*/ 97 w 274"/>
                <a:gd name="T25" fmla="*/ 267 h 360"/>
                <a:gd name="T26" fmla="*/ 94 w 274"/>
                <a:gd name="T27" fmla="*/ 250 h 360"/>
                <a:gd name="T28" fmla="*/ 0 w 274"/>
                <a:gd name="T29" fmla="*/ 0 h 360"/>
                <a:gd name="T30" fmla="*/ 79 w 274"/>
                <a:gd name="T3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4" h="360">
                  <a:moveTo>
                    <a:pt x="79" y="0"/>
                  </a:moveTo>
                  <a:cubicBezTo>
                    <a:pt x="139" y="182"/>
                    <a:pt x="139" y="182"/>
                    <a:pt x="139" y="182"/>
                  </a:cubicBezTo>
                  <a:cubicBezTo>
                    <a:pt x="140" y="182"/>
                    <a:pt x="140" y="182"/>
                    <a:pt x="140" y="182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163" y="300"/>
                    <a:pt x="163" y="300"/>
                    <a:pt x="163" y="300"/>
                  </a:cubicBezTo>
                  <a:cubicBezTo>
                    <a:pt x="155" y="321"/>
                    <a:pt x="144" y="336"/>
                    <a:pt x="130" y="346"/>
                  </a:cubicBezTo>
                  <a:cubicBezTo>
                    <a:pt x="116" y="356"/>
                    <a:pt x="97" y="360"/>
                    <a:pt x="72" y="360"/>
                  </a:cubicBezTo>
                  <a:cubicBezTo>
                    <a:pt x="61" y="360"/>
                    <a:pt x="46" y="360"/>
                    <a:pt x="26" y="358"/>
                  </a:cubicBezTo>
                  <a:cubicBezTo>
                    <a:pt x="26" y="297"/>
                    <a:pt x="26" y="297"/>
                    <a:pt x="26" y="297"/>
                  </a:cubicBezTo>
                  <a:cubicBezTo>
                    <a:pt x="39" y="299"/>
                    <a:pt x="52" y="300"/>
                    <a:pt x="65" y="300"/>
                  </a:cubicBezTo>
                  <a:cubicBezTo>
                    <a:pt x="75" y="300"/>
                    <a:pt x="83" y="297"/>
                    <a:pt x="89" y="291"/>
                  </a:cubicBezTo>
                  <a:cubicBezTo>
                    <a:pt x="94" y="284"/>
                    <a:pt x="97" y="276"/>
                    <a:pt x="97" y="267"/>
                  </a:cubicBezTo>
                  <a:cubicBezTo>
                    <a:pt x="97" y="261"/>
                    <a:pt x="96" y="256"/>
                    <a:pt x="94" y="25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8" name="Freeform 13"/>
            <p:cNvSpPr>
              <a:spLocks noEditPoints="1"/>
            </p:cNvSpPr>
            <p:nvPr userDrawn="1"/>
          </p:nvSpPr>
          <p:spPr bwMode="auto">
            <a:xfrm>
              <a:off x="2093913" y="611188"/>
              <a:ext cx="136525" cy="188913"/>
            </a:xfrm>
            <a:custGeom>
              <a:avLst/>
              <a:gdLst>
                <a:gd name="T0" fmla="*/ 73 w 269"/>
                <a:gd name="T1" fmla="*/ 0 h 376"/>
                <a:gd name="T2" fmla="*/ 73 w 269"/>
                <a:gd name="T3" fmla="*/ 134 h 376"/>
                <a:gd name="T4" fmla="*/ 74 w 269"/>
                <a:gd name="T5" fmla="*/ 134 h 376"/>
                <a:gd name="T6" fmla="*/ 108 w 269"/>
                <a:gd name="T7" fmla="*/ 106 h 376"/>
                <a:gd name="T8" fmla="*/ 158 w 269"/>
                <a:gd name="T9" fmla="*/ 95 h 376"/>
                <a:gd name="T10" fmla="*/ 238 w 269"/>
                <a:gd name="T11" fmla="*/ 134 h 376"/>
                <a:gd name="T12" fmla="*/ 269 w 269"/>
                <a:gd name="T13" fmla="*/ 235 h 376"/>
                <a:gd name="T14" fmla="*/ 238 w 269"/>
                <a:gd name="T15" fmla="*/ 337 h 376"/>
                <a:gd name="T16" fmla="*/ 158 w 269"/>
                <a:gd name="T17" fmla="*/ 376 h 376"/>
                <a:gd name="T18" fmla="*/ 71 w 269"/>
                <a:gd name="T19" fmla="*/ 334 h 376"/>
                <a:gd name="T20" fmla="*/ 70 w 269"/>
                <a:gd name="T21" fmla="*/ 334 h 376"/>
                <a:gd name="T22" fmla="*/ 70 w 269"/>
                <a:gd name="T23" fmla="*/ 369 h 376"/>
                <a:gd name="T24" fmla="*/ 0 w 269"/>
                <a:gd name="T25" fmla="*/ 369 h 376"/>
                <a:gd name="T26" fmla="*/ 0 w 269"/>
                <a:gd name="T27" fmla="*/ 0 h 376"/>
                <a:gd name="T28" fmla="*/ 73 w 269"/>
                <a:gd name="T29" fmla="*/ 0 h 376"/>
                <a:gd name="T30" fmla="*/ 71 w 269"/>
                <a:gd name="T31" fmla="*/ 235 h 376"/>
                <a:gd name="T32" fmla="*/ 88 w 269"/>
                <a:gd name="T33" fmla="*/ 297 h 376"/>
                <a:gd name="T34" fmla="*/ 133 w 269"/>
                <a:gd name="T35" fmla="*/ 321 h 376"/>
                <a:gd name="T36" fmla="*/ 178 w 269"/>
                <a:gd name="T37" fmla="*/ 298 h 376"/>
                <a:gd name="T38" fmla="*/ 195 w 269"/>
                <a:gd name="T39" fmla="*/ 235 h 376"/>
                <a:gd name="T40" fmla="*/ 179 w 269"/>
                <a:gd name="T41" fmla="*/ 173 h 376"/>
                <a:gd name="T42" fmla="*/ 132 w 269"/>
                <a:gd name="T43" fmla="*/ 150 h 376"/>
                <a:gd name="T44" fmla="*/ 87 w 269"/>
                <a:gd name="T45" fmla="*/ 174 h 376"/>
                <a:gd name="T46" fmla="*/ 71 w 269"/>
                <a:gd name="T47" fmla="*/ 23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9" h="376">
                  <a:moveTo>
                    <a:pt x="73" y="0"/>
                  </a:moveTo>
                  <a:cubicBezTo>
                    <a:pt x="73" y="134"/>
                    <a:pt x="73" y="134"/>
                    <a:pt x="73" y="134"/>
                  </a:cubicBezTo>
                  <a:cubicBezTo>
                    <a:pt x="74" y="134"/>
                    <a:pt x="74" y="134"/>
                    <a:pt x="74" y="134"/>
                  </a:cubicBezTo>
                  <a:cubicBezTo>
                    <a:pt x="82" y="122"/>
                    <a:pt x="93" y="113"/>
                    <a:pt x="108" y="106"/>
                  </a:cubicBezTo>
                  <a:cubicBezTo>
                    <a:pt x="123" y="98"/>
                    <a:pt x="139" y="95"/>
                    <a:pt x="158" y="95"/>
                  </a:cubicBezTo>
                  <a:cubicBezTo>
                    <a:pt x="191" y="95"/>
                    <a:pt x="217" y="108"/>
                    <a:pt x="238" y="134"/>
                  </a:cubicBezTo>
                  <a:cubicBezTo>
                    <a:pt x="258" y="160"/>
                    <a:pt x="269" y="194"/>
                    <a:pt x="269" y="235"/>
                  </a:cubicBezTo>
                  <a:cubicBezTo>
                    <a:pt x="269" y="277"/>
                    <a:pt x="258" y="310"/>
                    <a:pt x="238" y="337"/>
                  </a:cubicBezTo>
                  <a:cubicBezTo>
                    <a:pt x="218" y="363"/>
                    <a:pt x="191" y="376"/>
                    <a:pt x="158" y="376"/>
                  </a:cubicBezTo>
                  <a:cubicBezTo>
                    <a:pt x="114" y="376"/>
                    <a:pt x="85" y="362"/>
                    <a:pt x="71" y="334"/>
                  </a:cubicBezTo>
                  <a:cubicBezTo>
                    <a:pt x="70" y="334"/>
                    <a:pt x="70" y="334"/>
                    <a:pt x="70" y="334"/>
                  </a:cubicBezTo>
                  <a:cubicBezTo>
                    <a:pt x="70" y="369"/>
                    <a:pt x="70" y="369"/>
                    <a:pt x="70" y="369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73" y="0"/>
                  </a:lnTo>
                  <a:close/>
                  <a:moveTo>
                    <a:pt x="71" y="235"/>
                  </a:moveTo>
                  <a:cubicBezTo>
                    <a:pt x="71" y="261"/>
                    <a:pt x="76" y="282"/>
                    <a:pt x="88" y="297"/>
                  </a:cubicBezTo>
                  <a:cubicBezTo>
                    <a:pt x="99" y="313"/>
                    <a:pt x="114" y="321"/>
                    <a:pt x="133" y="321"/>
                  </a:cubicBezTo>
                  <a:cubicBezTo>
                    <a:pt x="152" y="321"/>
                    <a:pt x="167" y="313"/>
                    <a:pt x="178" y="298"/>
                  </a:cubicBezTo>
                  <a:cubicBezTo>
                    <a:pt x="190" y="283"/>
                    <a:pt x="195" y="262"/>
                    <a:pt x="195" y="235"/>
                  </a:cubicBezTo>
                  <a:cubicBezTo>
                    <a:pt x="195" y="209"/>
                    <a:pt x="190" y="189"/>
                    <a:pt x="179" y="173"/>
                  </a:cubicBezTo>
                  <a:cubicBezTo>
                    <a:pt x="167" y="158"/>
                    <a:pt x="152" y="150"/>
                    <a:pt x="132" y="150"/>
                  </a:cubicBezTo>
                  <a:cubicBezTo>
                    <a:pt x="113" y="150"/>
                    <a:pt x="98" y="158"/>
                    <a:pt x="87" y="174"/>
                  </a:cubicBezTo>
                  <a:cubicBezTo>
                    <a:pt x="76" y="189"/>
                    <a:pt x="71" y="210"/>
                    <a:pt x="71" y="2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59" name="Freeform 14"/>
            <p:cNvSpPr>
              <a:spLocks noEditPoints="1"/>
            </p:cNvSpPr>
            <p:nvPr userDrawn="1"/>
          </p:nvSpPr>
          <p:spPr bwMode="auto">
            <a:xfrm>
              <a:off x="2246313" y="658813"/>
              <a:ext cx="133350" cy="141288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49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8 w 266"/>
                <a:gd name="T25" fmla="*/ 265 h 281"/>
                <a:gd name="T26" fmla="*/ 19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2 w 266"/>
                <a:gd name="T37" fmla="*/ 112 h 281"/>
                <a:gd name="T38" fmla="*/ 173 w 266"/>
                <a:gd name="T39" fmla="*/ 68 h 281"/>
                <a:gd name="T40" fmla="*/ 134 w 266"/>
                <a:gd name="T41" fmla="*/ 55 h 281"/>
                <a:gd name="T42" fmla="*/ 91 w 266"/>
                <a:gd name="T43" fmla="*/ 70 h 281"/>
                <a:gd name="T44" fmla="*/ 73 w 266"/>
                <a:gd name="T45" fmla="*/ 112 h 281"/>
                <a:gd name="T46" fmla="*/ 192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4" y="6"/>
                    <a:pt x="203" y="17"/>
                  </a:cubicBezTo>
                  <a:cubicBezTo>
                    <a:pt x="223" y="29"/>
                    <a:pt x="238" y="46"/>
                    <a:pt x="249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2"/>
                    <a:pt x="175" y="216"/>
                  </a:cubicBezTo>
                  <a:cubicBezTo>
                    <a:pt x="186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0"/>
                    <a:pt x="89" y="275"/>
                    <a:pt x="68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6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2" y="112"/>
                  </a:moveTo>
                  <a:cubicBezTo>
                    <a:pt x="189" y="92"/>
                    <a:pt x="183" y="77"/>
                    <a:pt x="173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1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0" name="Freeform 15"/>
            <p:cNvSpPr>
              <a:spLocks/>
            </p:cNvSpPr>
            <p:nvPr userDrawn="1"/>
          </p:nvSpPr>
          <p:spPr bwMode="auto">
            <a:xfrm>
              <a:off x="2401888" y="658813"/>
              <a:ext cx="85725" cy="138113"/>
            </a:xfrm>
            <a:custGeom>
              <a:avLst/>
              <a:gdLst>
                <a:gd name="T0" fmla="*/ 156 w 172"/>
                <a:gd name="T1" fmla="*/ 0 h 274"/>
                <a:gd name="T2" fmla="*/ 172 w 172"/>
                <a:gd name="T3" fmla="*/ 2 h 274"/>
                <a:gd name="T4" fmla="*/ 172 w 172"/>
                <a:gd name="T5" fmla="*/ 70 h 274"/>
                <a:gd name="T6" fmla="*/ 145 w 172"/>
                <a:gd name="T7" fmla="*/ 68 h 274"/>
                <a:gd name="T8" fmla="*/ 73 w 172"/>
                <a:gd name="T9" fmla="*/ 153 h 274"/>
                <a:gd name="T10" fmla="*/ 73 w 172"/>
                <a:gd name="T11" fmla="*/ 274 h 274"/>
                <a:gd name="T12" fmla="*/ 0 w 172"/>
                <a:gd name="T13" fmla="*/ 274 h 274"/>
                <a:gd name="T14" fmla="*/ 0 w 172"/>
                <a:gd name="T15" fmla="*/ 7 h 274"/>
                <a:gd name="T16" fmla="*/ 70 w 172"/>
                <a:gd name="T17" fmla="*/ 7 h 274"/>
                <a:gd name="T18" fmla="*/ 70 w 172"/>
                <a:gd name="T19" fmla="*/ 56 h 274"/>
                <a:gd name="T20" fmla="*/ 71 w 172"/>
                <a:gd name="T21" fmla="*/ 56 h 274"/>
                <a:gd name="T22" fmla="*/ 105 w 172"/>
                <a:gd name="T23" fmla="*/ 15 h 274"/>
                <a:gd name="T24" fmla="*/ 156 w 172"/>
                <a:gd name="T25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2" h="274">
                  <a:moveTo>
                    <a:pt x="156" y="0"/>
                  </a:moveTo>
                  <a:cubicBezTo>
                    <a:pt x="162" y="0"/>
                    <a:pt x="167" y="1"/>
                    <a:pt x="172" y="2"/>
                  </a:cubicBezTo>
                  <a:cubicBezTo>
                    <a:pt x="172" y="70"/>
                    <a:pt x="172" y="70"/>
                    <a:pt x="172" y="70"/>
                  </a:cubicBezTo>
                  <a:cubicBezTo>
                    <a:pt x="164" y="69"/>
                    <a:pt x="155" y="68"/>
                    <a:pt x="145" y="68"/>
                  </a:cubicBezTo>
                  <a:cubicBezTo>
                    <a:pt x="97" y="68"/>
                    <a:pt x="73" y="96"/>
                    <a:pt x="73" y="153"/>
                  </a:cubicBezTo>
                  <a:cubicBezTo>
                    <a:pt x="73" y="274"/>
                    <a:pt x="73" y="274"/>
                    <a:pt x="73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8" y="39"/>
                    <a:pt x="89" y="25"/>
                    <a:pt x="105" y="15"/>
                  </a:cubicBezTo>
                  <a:cubicBezTo>
                    <a:pt x="121" y="5"/>
                    <a:pt x="138" y="0"/>
                    <a:pt x="15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1" name="Freeform 16"/>
            <p:cNvSpPr>
              <a:spLocks noEditPoints="1"/>
            </p:cNvSpPr>
            <p:nvPr userDrawn="1"/>
          </p:nvSpPr>
          <p:spPr bwMode="auto">
            <a:xfrm>
              <a:off x="2493963" y="611188"/>
              <a:ext cx="136525" cy="188913"/>
            </a:xfrm>
            <a:custGeom>
              <a:avLst/>
              <a:gdLst>
                <a:gd name="T0" fmla="*/ 271 w 271"/>
                <a:gd name="T1" fmla="*/ 0 h 376"/>
                <a:gd name="T2" fmla="*/ 271 w 271"/>
                <a:gd name="T3" fmla="*/ 369 h 376"/>
                <a:gd name="T4" fmla="*/ 202 w 271"/>
                <a:gd name="T5" fmla="*/ 369 h 376"/>
                <a:gd name="T6" fmla="*/ 202 w 271"/>
                <a:gd name="T7" fmla="*/ 334 h 376"/>
                <a:gd name="T8" fmla="*/ 201 w 271"/>
                <a:gd name="T9" fmla="*/ 334 h 376"/>
                <a:gd name="T10" fmla="*/ 120 w 271"/>
                <a:gd name="T11" fmla="*/ 376 h 376"/>
                <a:gd name="T12" fmla="*/ 32 w 271"/>
                <a:gd name="T13" fmla="*/ 336 h 376"/>
                <a:gd name="T14" fmla="*/ 0 w 271"/>
                <a:gd name="T15" fmla="*/ 233 h 376"/>
                <a:gd name="T16" fmla="*/ 33 w 271"/>
                <a:gd name="T17" fmla="*/ 133 h 376"/>
                <a:gd name="T18" fmla="*/ 118 w 271"/>
                <a:gd name="T19" fmla="*/ 95 h 376"/>
                <a:gd name="T20" fmla="*/ 164 w 271"/>
                <a:gd name="T21" fmla="*/ 105 h 376"/>
                <a:gd name="T22" fmla="*/ 197 w 271"/>
                <a:gd name="T23" fmla="*/ 134 h 376"/>
                <a:gd name="T24" fmla="*/ 198 w 271"/>
                <a:gd name="T25" fmla="*/ 134 h 376"/>
                <a:gd name="T26" fmla="*/ 198 w 271"/>
                <a:gd name="T27" fmla="*/ 0 h 376"/>
                <a:gd name="T28" fmla="*/ 271 w 271"/>
                <a:gd name="T29" fmla="*/ 0 h 376"/>
                <a:gd name="T30" fmla="*/ 73 w 271"/>
                <a:gd name="T31" fmla="*/ 235 h 376"/>
                <a:gd name="T32" fmla="*/ 91 w 271"/>
                <a:gd name="T33" fmla="*/ 296 h 376"/>
                <a:gd name="T34" fmla="*/ 138 w 271"/>
                <a:gd name="T35" fmla="*/ 321 h 376"/>
                <a:gd name="T36" fmla="*/ 185 w 271"/>
                <a:gd name="T37" fmla="*/ 298 h 376"/>
                <a:gd name="T38" fmla="*/ 201 w 271"/>
                <a:gd name="T39" fmla="*/ 234 h 376"/>
                <a:gd name="T40" fmla="*/ 184 w 271"/>
                <a:gd name="T41" fmla="*/ 172 h 376"/>
                <a:gd name="T42" fmla="*/ 137 w 271"/>
                <a:gd name="T43" fmla="*/ 150 h 376"/>
                <a:gd name="T44" fmla="*/ 90 w 271"/>
                <a:gd name="T45" fmla="*/ 173 h 376"/>
                <a:gd name="T46" fmla="*/ 73 w 271"/>
                <a:gd name="T47" fmla="*/ 235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71" h="376">
                  <a:moveTo>
                    <a:pt x="271" y="0"/>
                  </a:moveTo>
                  <a:cubicBezTo>
                    <a:pt x="271" y="369"/>
                    <a:pt x="271" y="369"/>
                    <a:pt x="271" y="369"/>
                  </a:cubicBezTo>
                  <a:cubicBezTo>
                    <a:pt x="202" y="369"/>
                    <a:pt x="202" y="369"/>
                    <a:pt x="202" y="369"/>
                  </a:cubicBezTo>
                  <a:cubicBezTo>
                    <a:pt x="202" y="334"/>
                    <a:pt x="202" y="334"/>
                    <a:pt x="202" y="334"/>
                  </a:cubicBezTo>
                  <a:cubicBezTo>
                    <a:pt x="201" y="334"/>
                    <a:pt x="201" y="334"/>
                    <a:pt x="201" y="334"/>
                  </a:cubicBezTo>
                  <a:cubicBezTo>
                    <a:pt x="185" y="362"/>
                    <a:pt x="158" y="376"/>
                    <a:pt x="120" y="376"/>
                  </a:cubicBezTo>
                  <a:cubicBezTo>
                    <a:pt x="83" y="376"/>
                    <a:pt x="54" y="362"/>
                    <a:pt x="32" y="336"/>
                  </a:cubicBezTo>
                  <a:cubicBezTo>
                    <a:pt x="11" y="309"/>
                    <a:pt x="0" y="274"/>
                    <a:pt x="0" y="233"/>
                  </a:cubicBezTo>
                  <a:cubicBezTo>
                    <a:pt x="0" y="192"/>
                    <a:pt x="11" y="159"/>
                    <a:pt x="33" y="133"/>
                  </a:cubicBezTo>
                  <a:cubicBezTo>
                    <a:pt x="55" y="108"/>
                    <a:pt x="83" y="95"/>
                    <a:pt x="118" y="95"/>
                  </a:cubicBezTo>
                  <a:cubicBezTo>
                    <a:pt x="134" y="95"/>
                    <a:pt x="150" y="98"/>
                    <a:pt x="164" y="105"/>
                  </a:cubicBezTo>
                  <a:cubicBezTo>
                    <a:pt x="178" y="111"/>
                    <a:pt x="189" y="121"/>
                    <a:pt x="197" y="134"/>
                  </a:cubicBezTo>
                  <a:cubicBezTo>
                    <a:pt x="198" y="134"/>
                    <a:pt x="198" y="134"/>
                    <a:pt x="198" y="134"/>
                  </a:cubicBezTo>
                  <a:cubicBezTo>
                    <a:pt x="198" y="0"/>
                    <a:pt x="198" y="0"/>
                    <a:pt x="198" y="0"/>
                  </a:cubicBezTo>
                  <a:lnTo>
                    <a:pt x="271" y="0"/>
                  </a:lnTo>
                  <a:close/>
                  <a:moveTo>
                    <a:pt x="73" y="235"/>
                  </a:moveTo>
                  <a:cubicBezTo>
                    <a:pt x="73" y="259"/>
                    <a:pt x="79" y="280"/>
                    <a:pt x="91" y="296"/>
                  </a:cubicBezTo>
                  <a:cubicBezTo>
                    <a:pt x="102" y="312"/>
                    <a:pt x="118" y="321"/>
                    <a:pt x="138" y="321"/>
                  </a:cubicBezTo>
                  <a:cubicBezTo>
                    <a:pt x="159" y="321"/>
                    <a:pt x="175" y="313"/>
                    <a:pt x="185" y="298"/>
                  </a:cubicBezTo>
                  <a:cubicBezTo>
                    <a:pt x="196" y="282"/>
                    <a:pt x="201" y="261"/>
                    <a:pt x="201" y="234"/>
                  </a:cubicBezTo>
                  <a:cubicBezTo>
                    <a:pt x="201" y="208"/>
                    <a:pt x="195" y="187"/>
                    <a:pt x="184" y="172"/>
                  </a:cubicBezTo>
                  <a:cubicBezTo>
                    <a:pt x="173" y="157"/>
                    <a:pt x="158" y="150"/>
                    <a:pt x="137" y="150"/>
                  </a:cubicBezTo>
                  <a:cubicBezTo>
                    <a:pt x="116" y="150"/>
                    <a:pt x="100" y="158"/>
                    <a:pt x="90" y="173"/>
                  </a:cubicBezTo>
                  <a:cubicBezTo>
                    <a:pt x="79" y="189"/>
                    <a:pt x="73" y="209"/>
                    <a:pt x="73" y="2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2" name="Freeform 17"/>
            <p:cNvSpPr>
              <a:spLocks noEditPoints="1"/>
            </p:cNvSpPr>
            <p:nvPr userDrawn="1"/>
          </p:nvSpPr>
          <p:spPr bwMode="auto">
            <a:xfrm>
              <a:off x="2652713" y="658813"/>
              <a:ext cx="133350" cy="141288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49 w 266"/>
                <a:gd name="T5" fmla="*/ 68 h 281"/>
                <a:gd name="T6" fmla="*/ 266 w 266"/>
                <a:gd name="T7" fmla="*/ 145 h 281"/>
                <a:gd name="T8" fmla="*/ 265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6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8 w 266"/>
                <a:gd name="T25" fmla="*/ 265 h 281"/>
                <a:gd name="T26" fmla="*/ 18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2 w 266"/>
                <a:gd name="T37" fmla="*/ 112 h 281"/>
                <a:gd name="T38" fmla="*/ 173 w 266"/>
                <a:gd name="T39" fmla="*/ 68 h 281"/>
                <a:gd name="T40" fmla="*/ 133 w 266"/>
                <a:gd name="T41" fmla="*/ 55 h 281"/>
                <a:gd name="T42" fmla="*/ 91 w 266"/>
                <a:gd name="T43" fmla="*/ 70 h 281"/>
                <a:gd name="T44" fmla="*/ 73 w 266"/>
                <a:gd name="T45" fmla="*/ 112 h 281"/>
                <a:gd name="T46" fmla="*/ 192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3" y="6"/>
                    <a:pt x="203" y="17"/>
                  </a:cubicBezTo>
                  <a:cubicBezTo>
                    <a:pt x="223" y="29"/>
                    <a:pt x="238" y="46"/>
                    <a:pt x="249" y="68"/>
                  </a:cubicBezTo>
                  <a:cubicBezTo>
                    <a:pt x="260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5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79" y="196"/>
                    <a:pt x="90" y="208"/>
                  </a:cubicBezTo>
                  <a:cubicBezTo>
                    <a:pt x="100" y="220"/>
                    <a:pt x="116" y="226"/>
                    <a:pt x="138" y="226"/>
                  </a:cubicBezTo>
                  <a:cubicBezTo>
                    <a:pt x="151" y="226"/>
                    <a:pt x="164" y="222"/>
                    <a:pt x="175" y="216"/>
                  </a:cubicBezTo>
                  <a:cubicBezTo>
                    <a:pt x="186" y="209"/>
                    <a:pt x="193" y="201"/>
                    <a:pt x="196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0" y="281"/>
                    <a:pt x="136" y="281"/>
                  </a:cubicBezTo>
                  <a:cubicBezTo>
                    <a:pt x="111" y="280"/>
                    <a:pt x="89" y="275"/>
                    <a:pt x="68" y="265"/>
                  </a:cubicBezTo>
                  <a:cubicBezTo>
                    <a:pt x="47" y="254"/>
                    <a:pt x="31" y="238"/>
                    <a:pt x="18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6" y="89"/>
                    <a:pt x="19" y="66"/>
                  </a:cubicBezTo>
                  <a:cubicBezTo>
                    <a:pt x="31" y="44"/>
                    <a:pt x="48" y="27"/>
                    <a:pt x="69" y="16"/>
                  </a:cubicBezTo>
                  <a:cubicBezTo>
                    <a:pt x="89" y="5"/>
                    <a:pt x="112" y="0"/>
                    <a:pt x="136" y="0"/>
                  </a:cubicBezTo>
                  <a:close/>
                  <a:moveTo>
                    <a:pt x="192" y="112"/>
                  </a:moveTo>
                  <a:cubicBezTo>
                    <a:pt x="189" y="92"/>
                    <a:pt x="182" y="77"/>
                    <a:pt x="173" y="68"/>
                  </a:cubicBezTo>
                  <a:cubicBezTo>
                    <a:pt x="164" y="59"/>
                    <a:pt x="150" y="55"/>
                    <a:pt x="133" y="55"/>
                  </a:cubicBezTo>
                  <a:cubicBezTo>
                    <a:pt x="115" y="55"/>
                    <a:pt x="101" y="60"/>
                    <a:pt x="91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2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3" name="Freeform 18"/>
            <p:cNvSpPr>
              <a:spLocks/>
            </p:cNvSpPr>
            <p:nvPr userDrawn="1"/>
          </p:nvSpPr>
          <p:spPr bwMode="auto">
            <a:xfrm>
              <a:off x="2794001" y="611188"/>
              <a:ext cx="85725" cy="185738"/>
            </a:xfrm>
            <a:custGeom>
              <a:avLst/>
              <a:gdLst>
                <a:gd name="T0" fmla="*/ 133 w 172"/>
                <a:gd name="T1" fmla="*/ 0 h 369"/>
                <a:gd name="T2" fmla="*/ 172 w 172"/>
                <a:gd name="T3" fmla="*/ 2 h 369"/>
                <a:gd name="T4" fmla="*/ 172 w 172"/>
                <a:gd name="T5" fmla="*/ 57 h 369"/>
                <a:gd name="T6" fmla="*/ 145 w 172"/>
                <a:gd name="T7" fmla="*/ 55 h 369"/>
                <a:gd name="T8" fmla="*/ 123 w 172"/>
                <a:gd name="T9" fmla="*/ 62 h 369"/>
                <a:gd name="T10" fmla="*/ 117 w 172"/>
                <a:gd name="T11" fmla="*/ 86 h 369"/>
                <a:gd name="T12" fmla="*/ 117 w 172"/>
                <a:gd name="T13" fmla="*/ 102 h 369"/>
                <a:gd name="T14" fmla="*/ 167 w 172"/>
                <a:gd name="T15" fmla="*/ 102 h 369"/>
                <a:gd name="T16" fmla="*/ 167 w 172"/>
                <a:gd name="T17" fmla="*/ 151 h 369"/>
                <a:gd name="T18" fmla="*/ 117 w 172"/>
                <a:gd name="T19" fmla="*/ 151 h 369"/>
                <a:gd name="T20" fmla="*/ 117 w 172"/>
                <a:gd name="T21" fmla="*/ 369 h 369"/>
                <a:gd name="T22" fmla="*/ 44 w 172"/>
                <a:gd name="T23" fmla="*/ 369 h 369"/>
                <a:gd name="T24" fmla="*/ 44 w 172"/>
                <a:gd name="T25" fmla="*/ 151 h 369"/>
                <a:gd name="T26" fmla="*/ 0 w 172"/>
                <a:gd name="T27" fmla="*/ 151 h 369"/>
                <a:gd name="T28" fmla="*/ 0 w 172"/>
                <a:gd name="T29" fmla="*/ 102 h 369"/>
                <a:gd name="T30" fmla="*/ 44 w 172"/>
                <a:gd name="T31" fmla="*/ 102 h 369"/>
                <a:gd name="T32" fmla="*/ 44 w 172"/>
                <a:gd name="T33" fmla="*/ 82 h 369"/>
                <a:gd name="T34" fmla="*/ 67 w 172"/>
                <a:gd name="T35" fmla="*/ 22 h 369"/>
                <a:gd name="T36" fmla="*/ 133 w 172"/>
                <a:gd name="T37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2" h="369">
                  <a:moveTo>
                    <a:pt x="133" y="0"/>
                  </a:moveTo>
                  <a:cubicBezTo>
                    <a:pt x="139" y="0"/>
                    <a:pt x="152" y="1"/>
                    <a:pt x="172" y="2"/>
                  </a:cubicBezTo>
                  <a:cubicBezTo>
                    <a:pt x="172" y="57"/>
                    <a:pt x="172" y="57"/>
                    <a:pt x="172" y="57"/>
                  </a:cubicBezTo>
                  <a:cubicBezTo>
                    <a:pt x="162" y="56"/>
                    <a:pt x="153" y="55"/>
                    <a:pt x="145" y="55"/>
                  </a:cubicBezTo>
                  <a:cubicBezTo>
                    <a:pt x="135" y="55"/>
                    <a:pt x="127" y="58"/>
                    <a:pt x="123" y="62"/>
                  </a:cubicBezTo>
                  <a:cubicBezTo>
                    <a:pt x="119" y="67"/>
                    <a:pt x="117" y="75"/>
                    <a:pt x="117" y="86"/>
                  </a:cubicBezTo>
                  <a:cubicBezTo>
                    <a:pt x="117" y="102"/>
                    <a:pt x="117" y="102"/>
                    <a:pt x="117" y="102"/>
                  </a:cubicBezTo>
                  <a:cubicBezTo>
                    <a:pt x="167" y="102"/>
                    <a:pt x="167" y="102"/>
                    <a:pt x="167" y="102"/>
                  </a:cubicBezTo>
                  <a:cubicBezTo>
                    <a:pt x="167" y="151"/>
                    <a:pt x="167" y="151"/>
                    <a:pt x="167" y="151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7" y="369"/>
                    <a:pt x="117" y="369"/>
                    <a:pt x="117" y="369"/>
                  </a:cubicBezTo>
                  <a:cubicBezTo>
                    <a:pt x="44" y="369"/>
                    <a:pt x="44" y="369"/>
                    <a:pt x="44" y="369"/>
                  </a:cubicBezTo>
                  <a:cubicBezTo>
                    <a:pt x="44" y="151"/>
                    <a:pt x="44" y="151"/>
                    <a:pt x="44" y="151"/>
                  </a:cubicBezTo>
                  <a:cubicBezTo>
                    <a:pt x="0" y="151"/>
                    <a:pt x="0" y="151"/>
                    <a:pt x="0" y="151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56"/>
                    <a:pt x="51" y="36"/>
                    <a:pt x="67" y="22"/>
                  </a:cubicBezTo>
                  <a:cubicBezTo>
                    <a:pt x="83" y="7"/>
                    <a:pt x="105" y="0"/>
                    <a:pt x="13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4" name="Freeform 19"/>
            <p:cNvSpPr>
              <a:spLocks noEditPoints="1"/>
            </p:cNvSpPr>
            <p:nvPr userDrawn="1"/>
          </p:nvSpPr>
          <p:spPr bwMode="auto">
            <a:xfrm>
              <a:off x="2887663" y="658813"/>
              <a:ext cx="133350" cy="141288"/>
            </a:xfrm>
            <a:custGeom>
              <a:avLst/>
              <a:gdLst>
                <a:gd name="T0" fmla="*/ 137 w 267"/>
                <a:gd name="T1" fmla="*/ 0 h 281"/>
                <a:gd name="T2" fmla="*/ 204 w 267"/>
                <a:gd name="T3" fmla="*/ 17 h 281"/>
                <a:gd name="T4" fmla="*/ 250 w 267"/>
                <a:gd name="T5" fmla="*/ 68 h 281"/>
                <a:gd name="T6" fmla="*/ 267 w 267"/>
                <a:gd name="T7" fmla="*/ 145 h 281"/>
                <a:gd name="T8" fmla="*/ 266 w 267"/>
                <a:gd name="T9" fmla="*/ 158 h 281"/>
                <a:gd name="T10" fmla="*/ 74 w 267"/>
                <a:gd name="T11" fmla="*/ 158 h 281"/>
                <a:gd name="T12" fmla="*/ 90 w 267"/>
                <a:gd name="T13" fmla="*/ 208 h 281"/>
                <a:gd name="T14" fmla="*/ 139 w 267"/>
                <a:gd name="T15" fmla="*/ 226 h 281"/>
                <a:gd name="T16" fmla="*/ 176 w 267"/>
                <a:gd name="T17" fmla="*/ 216 h 281"/>
                <a:gd name="T18" fmla="*/ 197 w 267"/>
                <a:gd name="T19" fmla="*/ 191 h 281"/>
                <a:gd name="T20" fmla="*/ 261 w 267"/>
                <a:gd name="T21" fmla="*/ 191 h 281"/>
                <a:gd name="T22" fmla="*/ 137 w 267"/>
                <a:gd name="T23" fmla="*/ 281 h 281"/>
                <a:gd name="T24" fmla="*/ 69 w 267"/>
                <a:gd name="T25" fmla="*/ 265 h 281"/>
                <a:gd name="T26" fmla="*/ 19 w 267"/>
                <a:gd name="T27" fmla="*/ 217 h 281"/>
                <a:gd name="T28" fmla="*/ 0 w 267"/>
                <a:gd name="T29" fmla="*/ 140 h 281"/>
                <a:gd name="T30" fmla="*/ 19 w 267"/>
                <a:gd name="T31" fmla="*/ 66 h 281"/>
                <a:gd name="T32" fmla="*/ 69 w 267"/>
                <a:gd name="T33" fmla="*/ 16 h 281"/>
                <a:gd name="T34" fmla="*/ 137 w 267"/>
                <a:gd name="T35" fmla="*/ 0 h 281"/>
                <a:gd name="T36" fmla="*/ 193 w 267"/>
                <a:gd name="T37" fmla="*/ 112 h 281"/>
                <a:gd name="T38" fmla="*/ 174 w 267"/>
                <a:gd name="T39" fmla="*/ 68 h 281"/>
                <a:gd name="T40" fmla="*/ 134 w 267"/>
                <a:gd name="T41" fmla="*/ 55 h 281"/>
                <a:gd name="T42" fmla="*/ 92 w 267"/>
                <a:gd name="T43" fmla="*/ 70 h 281"/>
                <a:gd name="T44" fmla="*/ 74 w 267"/>
                <a:gd name="T45" fmla="*/ 112 h 281"/>
                <a:gd name="T46" fmla="*/ 193 w 267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7" h="281">
                  <a:moveTo>
                    <a:pt x="137" y="0"/>
                  </a:moveTo>
                  <a:cubicBezTo>
                    <a:pt x="162" y="0"/>
                    <a:pt x="184" y="6"/>
                    <a:pt x="204" y="17"/>
                  </a:cubicBezTo>
                  <a:cubicBezTo>
                    <a:pt x="223" y="29"/>
                    <a:pt x="239" y="46"/>
                    <a:pt x="250" y="68"/>
                  </a:cubicBezTo>
                  <a:cubicBezTo>
                    <a:pt x="261" y="90"/>
                    <a:pt x="267" y="116"/>
                    <a:pt x="267" y="145"/>
                  </a:cubicBezTo>
                  <a:cubicBezTo>
                    <a:pt x="267" y="147"/>
                    <a:pt x="266" y="152"/>
                    <a:pt x="266" y="158"/>
                  </a:cubicBezTo>
                  <a:cubicBezTo>
                    <a:pt x="74" y="158"/>
                    <a:pt x="74" y="158"/>
                    <a:pt x="74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9" y="226"/>
                  </a:cubicBezTo>
                  <a:cubicBezTo>
                    <a:pt x="152" y="226"/>
                    <a:pt x="164" y="222"/>
                    <a:pt x="176" y="216"/>
                  </a:cubicBezTo>
                  <a:cubicBezTo>
                    <a:pt x="187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3" y="251"/>
                    <a:pt x="201" y="281"/>
                    <a:pt x="137" y="281"/>
                  </a:cubicBezTo>
                  <a:cubicBezTo>
                    <a:pt x="112" y="280"/>
                    <a:pt x="90" y="275"/>
                    <a:pt x="69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7" y="195"/>
                    <a:pt x="0" y="169"/>
                    <a:pt x="0" y="140"/>
                  </a:cubicBezTo>
                  <a:cubicBezTo>
                    <a:pt x="0" y="113"/>
                    <a:pt x="7" y="89"/>
                    <a:pt x="19" y="66"/>
                  </a:cubicBezTo>
                  <a:cubicBezTo>
                    <a:pt x="32" y="44"/>
                    <a:pt x="49" y="27"/>
                    <a:pt x="69" y="16"/>
                  </a:cubicBezTo>
                  <a:cubicBezTo>
                    <a:pt x="90" y="5"/>
                    <a:pt x="113" y="0"/>
                    <a:pt x="137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7"/>
                    <a:pt x="174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0"/>
                    <a:pt x="75" y="94"/>
                    <a:pt x="74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5" name="Freeform 20"/>
            <p:cNvSpPr>
              <a:spLocks/>
            </p:cNvSpPr>
            <p:nvPr userDrawn="1"/>
          </p:nvSpPr>
          <p:spPr bwMode="auto">
            <a:xfrm>
              <a:off x="3041651" y="658813"/>
              <a:ext cx="127000" cy="138113"/>
            </a:xfrm>
            <a:custGeom>
              <a:avLst/>
              <a:gdLst>
                <a:gd name="T0" fmla="*/ 154 w 251"/>
                <a:gd name="T1" fmla="*/ 0 h 274"/>
                <a:gd name="T2" fmla="*/ 228 w 251"/>
                <a:gd name="T3" fmla="*/ 25 h 274"/>
                <a:gd name="T4" fmla="*/ 251 w 251"/>
                <a:gd name="T5" fmla="*/ 107 h 274"/>
                <a:gd name="T6" fmla="*/ 251 w 251"/>
                <a:gd name="T7" fmla="*/ 274 h 274"/>
                <a:gd name="T8" fmla="*/ 177 w 251"/>
                <a:gd name="T9" fmla="*/ 274 h 274"/>
                <a:gd name="T10" fmla="*/ 177 w 251"/>
                <a:gd name="T11" fmla="*/ 122 h 274"/>
                <a:gd name="T12" fmla="*/ 167 w 251"/>
                <a:gd name="T13" fmla="*/ 73 h 274"/>
                <a:gd name="T14" fmla="*/ 130 w 251"/>
                <a:gd name="T15" fmla="*/ 57 h 274"/>
                <a:gd name="T16" fmla="*/ 87 w 251"/>
                <a:gd name="T17" fmla="*/ 75 h 274"/>
                <a:gd name="T18" fmla="*/ 74 w 251"/>
                <a:gd name="T19" fmla="*/ 135 h 274"/>
                <a:gd name="T20" fmla="*/ 74 w 251"/>
                <a:gd name="T21" fmla="*/ 274 h 274"/>
                <a:gd name="T22" fmla="*/ 0 w 251"/>
                <a:gd name="T23" fmla="*/ 274 h 274"/>
                <a:gd name="T24" fmla="*/ 0 w 251"/>
                <a:gd name="T25" fmla="*/ 7 h 274"/>
                <a:gd name="T26" fmla="*/ 70 w 251"/>
                <a:gd name="T27" fmla="*/ 7 h 274"/>
                <a:gd name="T28" fmla="*/ 70 w 251"/>
                <a:gd name="T29" fmla="*/ 44 h 274"/>
                <a:gd name="T30" fmla="*/ 72 w 251"/>
                <a:gd name="T31" fmla="*/ 44 h 274"/>
                <a:gd name="T32" fmla="*/ 154 w 251"/>
                <a:gd name="T33" fmla="*/ 0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1" h="274">
                  <a:moveTo>
                    <a:pt x="154" y="0"/>
                  </a:moveTo>
                  <a:cubicBezTo>
                    <a:pt x="188" y="0"/>
                    <a:pt x="212" y="8"/>
                    <a:pt x="228" y="25"/>
                  </a:cubicBezTo>
                  <a:cubicBezTo>
                    <a:pt x="243" y="43"/>
                    <a:pt x="251" y="70"/>
                    <a:pt x="251" y="107"/>
                  </a:cubicBezTo>
                  <a:cubicBezTo>
                    <a:pt x="251" y="274"/>
                    <a:pt x="251" y="274"/>
                    <a:pt x="251" y="274"/>
                  </a:cubicBezTo>
                  <a:cubicBezTo>
                    <a:pt x="177" y="274"/>
                    <a:pt x="177" y="274"/>
                    <a:pt x="177" y="274"/>
                  </a:cubicBezTo>
                  <a:cubicBezTo>
                    <a:pt x="177" y="122"/>
                    <a:pt x="177" y="122"/>
                    <a:pt x="177" y="122"/>
                  </a:cubicBezTo>
                  <a:cubicBezTo>
                    <a:pt x="177" y="100"/>
                    <a:pt x="174" y="84"/>
                    <a:pt x="167" y="73"/>
                  </a:cubicBezTo>
                  <a:cubicBezTo>
                    <a:pt x="160" y="63"/>
                    <a:pt x="148" y="57"/>
                    <a:pt x="130" y="57"/>
                  </a:cubicBezTo>
                  <a:cubicBezTo>
                    <a:pt x="110" y="57"/>
                    <a:pt x="96" y="63"/>
                    <a:pt x="87" y="75"/>
                  </a:cubicBezTo>
                  <a:cubicBezTo>
                    <a:pt x="78" y="88"/>
                    <a:pt x="74" y="107"/>
                    <a:pt x="74" y="135"/>
                  </a:cubicBezTo>
                  <a:cubicBezTo>
                    <a:pt x="74" y="274"/>
                    <a:pt x="74" y="274"/>
                    <a:pt x="74" y="274"/>
                  </a:cubicBezTo>
                  <a:cubicBezTo>
                    <a:pt x="0" y="274"/>
                    <a:pt x="0" y="274"/>
                    <a:pt x="0" y="274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70" y="7"/>
                    <a:pt x="70" y="7"/>
                    <a:pt x="70" y="7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90" y="14"/>
                    <a:pt x="117" y="0"/>
                    <a:pt x="15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6" name="Freeform 21"/>
            <p:cNvSpPr>
              <a:spLocks/>
            </p:cNvSpPr>
            <p:nvPr userDrawn="1"/>
          </p:nvSpPr>
          <p:spPr bwMode="auto">
            <a:xfrm>
              <a:off x="3189288" y="658813"/>
              <a:ext cx="123825" cy="141288"/>
            </a:xfrm>
            <a:custGeom>
              <a:avLst/>
              <a:gdLst>
                <a:gd name="T0" fmla="*/ 123 w 247"/>
                <a:gd name="T1" fmla="*/ 0 h 281"/>
                <a:gd name="T2" fmla="*/ 206 w 247"/>
                <a:gd name="T3" fmla="*/ 21 h 281"/>
                <a:gd name="T4" fmla="*/ 240 w 247"/>
                <a:gd name="T5" fmla="*/ 85 h 281"/>
                <a:gd name="T6" fmla="*/ 170 w 247"/>
                <a:gd name="T7" fmla="*/ 85 h 281"/>
                <a:gd name="T8" fmla="*/ 157 w 247"/>
                <a:gd name="T9" fmla="*/ 57 h 281"/>
                <a:gd name="T10" fmla="*/ 120 w 247"/>
                <a:gd name="T11" fmla="*/ 49 h 281"/>
                <a:gd name="T12" fmla="*/ 90 w 247"/>
                <a:gd name="T13" fmla="*/ 55 h 281"/>
                <a:gd name="T14" fmla="*/ 80 w 247"/>
                <a:gd name="T15" fmla="*/ 73 h 281"/>
                <a:gd name="T16" fmla="*/ 86 w 247"/>
                <a:gd name="T17" fmla="*/ 89 h 281"/>
                <a:gd name="T18" fmla="*/ 107 w 247"/>
                <a:gd name="T19" fmla="*/ 100 h 281"/>
                <a:gd name="T20" fmla="*/ 137 w 247"/>
                <a:gd name="T21" fmla="*/ 107 h 281"/>
                <a:gd name="T22" fmla="*/ 208 w 247"/>
                <a:gd name="T23" fmla="*/ 128 h 281"/>
                <a:gd name="T24" fmla="*/ 238 w 247"/>
                <a:gd name="T25" fmla="*/ 152 h 281"/>
                <a:gd name="T26" fmla="*/ 247 w 247"/>
                <a:gd name="T27" fmla="*/ 188 h 281"/>
                <a:gd name="T28" fmla="*/ 215 w 247"/>
                <a:gd name="T29" fmla="*/ 257 h 281"/>
                <a:gd name="T30" fmla="*/ 126 w 247"/>
                <a:gd name="T31" fmla="*/ 281 h 281"/>
                <a:gd name="T32" fmla="*/ 34 w 247"/>
                <a:gd name="T33" fmla="*/ 255 h 281"/>
                <a:gd name="T34" fmla="*/ 0 w 247"/>
                <a:gd name="T35" fmla="*/ 187 h 281"/>
                <a:gd name="T36" fmla="*/ 70 w 247"/>
                <a:gd name="T37" fmla="*/ 187 h 281"/>
                <a:gd name="T38" fmla="*/ 86 w 247"/>
                <a:gd name="T39" fmla="*/ 220 h 281"/>
                <a:gd name="T40" fmla="*/ 126 w 247"/>
                <a:gd name="T41" fmla="*/ 232 h 281"/>
                <a:gd name="T42" fmla="*/ 160 w 247"/>
                <a:gd name="T43" fmla="*/ 223 h 281"/>
                <a:gd name="T44" fmla="*/ 174 w 247"/>
                <a:gd name="T45" fmla="*/ 198 h 281"/>
                <a:gd name="T46" fmla="*/ 166 w 247"/>
                <a:gd name="T47" fmla="*/ 181 h 281"/>
                <a:gd name="T48" fmla="*/ 142 w 247"/>
                <a:gd name="T49" fmla="*/ 169 h 281"/>
                <a:gd name="T50" fmla="*/ 94 w 247"/>
                <a:gd name="T51" fmla="*/ 157 h 281"/>
                <a:gd name="T52" fmla="*/ 48 w 247"/>
                <a:gd name="T53" fmla="*/ 143 h 281"/>
                <a:gd name="T54" fmla="*/ 17 w 247"/>
                <a:gd name="T55" fmla="*/ 120 h 281"/>
                <a:gd name="T56" fmla="*/ 6 w 247"/>
                <a:gd name="T57" fmla="*/ 85 h 281"/>
                <a:gd name="T58" fmla="*/ 19 w 247"/>
                <a:gd name="T59" fmla="*/ 39 h 281"/>
                <a:gd name="T60" fmla="*/ 58 w 247"/>
                <a:gd name="T61" fmla="*/ 10 h 281"/>
                <a:gd name="T62" fmla="*/ 123 w 247"/>
                <a:gd name="T6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7" h="281">
                  <a:moveTo>
                    <a:pt x="123" y="0"/>
                  </a:moveTo>
                  <a:cubicBezTo>
                    <a:pt x="158" y="0"/>
                    <a:pt x="186" y="7"/>
                    <a:pt x="206" y="21"/>
                  </a:cubicBezTo>
                  <a:cubicBezTo>
                    <a:pt x="226" y="36"/>
                    <a:pt x="238" y="57"/>
                    <a:pt x="240" y="85"/>
                  </a:cubicBezTo>
                  <a:cubicBezTo>
                    <a:pt x="170" y="85"/>
                    <a:pt x="170" y="85"/>
                    <a:pt x="170" y="85"/>
                  </a:cubicBezTo>
                  <a:cubicBezTo>
                    <a:pt x="169" y="72"/>
                    <a:pt x="165" y="63"/>
                    <a:pt x="157" y="57"/>
                  </a:cubicBezTo>
                  <a:cubicBezTo>
                    <a:pt x="148" y="52"/>
                    <a:pt x="136" y="49"/>
                    <a:pt x="120" y="49"/>
                  </a:cubicBezTo>
                  <a:cubicBezTo>
                    <a:pt x="107" y="49"/>
                    <a:pt x="96" y="51"/>
                    <a:pt x="90" y="55"/>
                  </a:cubicBezTo>
                  <a:cubicBezTo>
                    <a:pt x="83" y="59"/>
                    <a:pt x="80" y="65"/>
                    <a:pt x="80" y="73"/>
                  </a:cubicBezTo>
                  <a:cubicBezTo>
                    <a:pt x="80" y="80"/>
                    <a:pt x="82" y="85"/>
                    <a:pt x="86" y="89"/>
                  </a:cubicBezTo>
                  <a:cubicBezTo>
                    <a:pt x="91" y="93"/>
                    <a:pt x="98" y="97"/>
                    <a:pt x="107" y="100"/>
                  </a:cubicBezTo>
                  <a:cubicBezTo>
                    <a:pt x="116" y="103"/>
                    <a:pt x="126" y="105"/>
                    <a:pt x="137" y="107"/>
                  </a:cubicBezTo>
                  <a:cubicBezTo>
                    <a:pt x="170" y="114"/>
                    <a:pt x="194" y="121"/>
                    <a:pt x="208" y="128"/>
                  </a:cubicBezTo>
                  <a:cubicBezTo>
                    <a:pt x="221" y="134"/>
                    <a:pt x="231" y="143"/>
                    <a:pt x="238" y="152"/>
                  </a:cubicBezTo>
                  <a:cubicBezTo>
                    <a:pt x="244" y="162"/>
                    <a:pt x="247" y="174"/>
                    <a:pt x="247" y="188"/>
                  </a:cubicBezTo>
                  <a:cubicBezTo>
                    <a:pt x="247" y="218"/>
                    <a:pt x="236" y="241"/>
                    <a:pt x="215" y="257"/>
                  </a:cubicBezTo>
                  <a:cubicBezTo>
                    <a:pt x="193" y="273"/>
                    <a:pt x="163" y="281"/>
                    <a:pt x="126" y="281"/>
                  </a:cubicBezTo>
                  <a:cubicBezTo>
                    <a:pt x="86" y="281"/>
                    <a:pt x="56" y="272"/>
                    <a:pt x="34" y="255"/>
                  </a:cubicBezTo>
                  <a:cubicBezTo>
                    <a:pt x="12" y="239"/>
                    <a:pt x="1" y="216"/>
                    <a:pt x="0" y="187"/>
                  </a:cubicBezTo>
                  <a:cubicBezTo>
                    <a:pt x="70" y="187"/>
                    <a:pt x="70" y="187"/>
                    <a:pt x="70" y="187"/>
                  </a:cubicBezTo>
                  <a:cubicBezTo>
                    <a:pt x="70" y="201"/>
                    <a:pt x="75" y="212"/>
                    <a:pt x="86" y="220"/>
                  </a:cubicBezTo>
                  <a:cubicBezTo>
                    <a:pt x="97" y="228"/>
                    <a:pt x="110" y="232"/>
                    <a:pt x="126" y="232"/>
                  </a:cubicBezTo>
                  <a:cubicBezTo>
                    <a:pt x="140" y="232"/>
                    <a:pt x="151" y="229"/>
                    <a:pt x="160" y="223"/>
                  </a:cubicBezTo>
                  <a:cubicBezTo>
                    <a:pt x="170" y="217"/>
                    <a:pt x="174" y="208"/>
                    <a:pt x="174" y="198"/>
                  </a:cubicBezTo>
                  <a:cubicBezTo>
                    <a:pt x="174" y="191"/>
                    <a:pt x="171" y="185"/>
                    <a:pt x="166" y="181"/>
                  </a:cubicBezTo>
                  <a:cubicBezTo>
                    <a:pt x="160" y="176"/>
                    <a:pt x="152" y="172"/>
                    <a:pt x="142" y="169"/>
                  </a:cubicBezTo>
                  <a:cubicBezTo>
                    <a:pt x="131" y="165"/>
                    <a:pt x="115" y="161"/>
                    <a:pt x="94" y="157"/>
                  </a:cubicBezTo>
                  <a:cubicBezTo>
                    <a:pt x="76" y="154"/>
                    <a:pt x="61" y="149"/>
                    <a:pt x="48" y="143"/>
                  </a:cubicBezTo>
                  <a:cubicBezTo>
                    <a:pt x="34" y="137"/>
                    <a:pt x="24" y="130"/>
                    <a:pt x="17" y="120"/>
                  </a:cubicBezTo>
                  <a:cubicBezTo>
                    <a:pt x="10" y="111"/>
                    <a:pt x="6" y="99"/>
                    <a:pt x="6" y="85"/>
                  </a:cubicBezTo>
                  <a:cubicBezTo>
                    <a:pt x="6" y="68"/>
                    <a:pt x="11" y="52"/>
                    <a:pt x="19" y="39"/>
                  </a:cubicBezTo>
                  <a:cubicBezTo>
                    <a:pt x="28" y="26"/>
                    <a:pt x="40" y="16"/>
                    <a:pt x="58" y="10"/>
                  </a:cubicBezTo>
                  <a:cubicBezTo>
                    <a:pt x="75" y="3"/>
                    <a:pt x="97" y="0"/>
                    <a:pt x="1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67" name="Freeform 22"/>
            <p:cNvSpPr>
              <a:spLocks noEditPoints="1"/>
            </p:cNvSpPr>
            <p:nvPr userDrawn="1"/>
          </p:nvSpPr>
          <p:spPr bwMode="auto">
            <a:xfrm>
              <a:off x="3328988" y="658813"/>
              <a:ext cx="133350" cy="141288"/>
            </a:xfrm>
            <a:custGeom>
              <a:avLst/>
              <a:gdLst>
                <a:gd name="T0" fmla="*/ 136 w 266"/>
                <a:gd name="T1" fmla="*/ 0 h 281"/>
                <a:gd name="T2" fmla="*/ 203 w 266"/>
                <a:gd name="T3" fmla="*/ 17 h 281"/>
                <a:gd name="T4" fmla="*/ 250 w 266"/>
                <a:gd name="T5" fmla="*/ 68 h 281"/>
                <a:gd name="T6" fmla="*/ 266 w 266"/>
                <a:gd name="T7" fmla="*/ 145 h 281"/>
                <a:gd name="T8" fmla="*/ 266 w 266"/>
                <a:gd name="T9" fmla="*/ 158 h 281"/>
                <a:gd name="T10" fmla="*/ 73 w 266"/>
                <a:gd name="T11" fmla="*/ 158 h 281"/>
                <a:gd name="T12" fmla="*/ 90 w 266"/>
                <a:gd name="T13" fmla="*/ 208 h 281"/>
                <a:gd name="T14" fmla="*/ 138 w 266"/>
                <a:gd name="T15" fmla="*/ 226 h 281"/>
                <a:gd name="T16" fmla="*/ 175 w 266"/>
                <a:gd name="T17" fmla="*/ 216 h 281"/>
                <a:gd name="T18" fmla="*/ 197 w 266"/>
                <a:gd name="T19" fmla="*/ 191 h 281"/>
                <a:gd name="T20" fmla="*/ 261 w 266"/>
                <a:gd name="T21" fmla="*/ 191 h 281"/>
                <a:gd name="T22" fmla="*/ 136 w 266"/>
                <a:gd name="T23" fmla="*/ 281 h 281"/>
                <a:gd name="T24" fmla="*/ 69 w 266"/>
                <a:gd name="T25" fmla="*/ 265 h 281"/>
                <a:gd name="T26" fmla="*/ 19 w 266"/>
                <a:gd name="T27" fmla="*/ 217 h 281"/>
                <a:gd name="T28" fmla="*/ 0 w 266"/>
                <a:gd name="T29" fmla="*/ 140 h 281"/>
                <a:gd name="T30" fmla="*/ 19 w 266"/>
                <a:gd name="T31" fmla="*/ 66 h 281"/>
                <a:gd name="T32" fmla="*/ 69 w 266"/>
                <a:gd name="T33" fmla="*/ 16 h 281"/>
                <a:gd name="T34" fmla="*/ 136 w 266"/>
                <a:gd name="T35" fmla="*/ 0 h 281"/>
                <a:gd name="T36" fmla="*/ 193 w 266"/>
                <a:gd name="T37" fmla="*/ 112 h 281"/>
                <a:gd name="T38" fmla="*/ 174 w 266"/>
                <a:gd name="T39" fmla="*/ 68 h 281"/>
                <a:gd name="T40" fmla="*/ 134 w 266"/>
                <a:gd name="T41" fmla="*/ 55 h 281"/>
                <a:gd name="T42" fmla="*/ 92 w 266"/>
                <a:gd name="T43" fmla="*/ 70 h 281"/>
                <a:gd name="T44" fmla="*/ 73 w 266"/>
                <a:gd name="T45" fmla="*/ 112 h 281"/>
                <a:gd name="T46" fmla="*/ 193 w 266"/>
                <a:gd name="T47" fmla="*/ 112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6" h="281">
                  <a:moveTo>
                    <a:pt x="136" y="0"/>
                  </a:moveTo>
                  <a:cubicBezTo>
                    <a:pt x="161" y="0"/>
                    <a:pt x="184" y="6"/>
                    <a:pt x="203" y="17"/>
                  </a:cubicBezTo>
                  <a:cubicBezTo>
                    <a:pt x="223" y="29"/>
                    <a:pt x="238" y="46"/>
                    <a:pt x="250" y="68"/>
                  </a:cubicBezTo>
                  <a:cubicBezTo>
                    <a:pt x="261" y="90"/>
                    <a:pt x="266" y="116"/>
                    <a:pt x="266" y="145"/>
                  </a:cubicBezTo>
                  <a:cubicBezTo>
                    <a:pt x="266" y="147"/>
                    <a:pt x="266" y="152"/>
                    <a:pt x="266" y="158"/>
                  </a:cubicBezTo>
                  <a:cubicBezTo>
                    <a:pt x="73" y="158"/>
                    <a:pt x="73" y="158"/>
                    <a:pt x="73" y="158"/>
                  </a:cubicBezTo>
                  <a:cubicBezTo>
                    <a:pt x="74" y="179"/>
                    <a:pt x="80" y="196"/>
                    <a:pt x="90" y="208"/>
                  </a:cubicBezTo>
                  <a:cubicBezTo>
                    <a:pt x="101" y="220"/>
                    <a:pt x="117" y="226"/>
                    <a:pt x="138" y="226"/>
                  </a:cubicBezTo>
                  <a:cubicBezTo>
                    <a:pt x="152" y="226"/>
                    <a:pt x="164" y="222"/>
                    <a:pt x="175" y="216"/>
                  </a:cubicBezTo>
                  <a:cubicBezTo>
                    <a:pt x="186" y="209"/>
                    <a:pt x="194" y="201"/>
                    <a:pt x="197" y="191"/>
                  </a:cubicBezTo>
                  <a:cubicBezTo>
                    <a:pt x="261" y="191"/>
                    <a:pt x="261" y="191"/>
                    <a:pt x="261" y="191"/>
                  </a:cubicBezTo>
                  <a:cubicBezTo>
                    <a:pt x="242" y="251"/>
                    <a:pt x="201" y="281"/>
                    <a:pt x="136" y="281"/>
                  </a:cubicBezTo>
                  <a:cubicBezTo>
                    <a:pt x="112" y="280"/>
                    <a:pt x="89" y="275"/>
                    <a:pt x="69" y="265"/>
                  </a:cubicBezTo>
                  <a:cubicBezTo>
                    <a:pt x="48" y="254"/>
                    <a:pt x="31" y="238"/>
                    <a:pt x="19" y="217"/>
                  </a:cubicBezTo>
                  <a:cubicBezTo>
                    <a:pt x="6" y="195"/>
                    <a:pt x="0" y="169"/>
                    <a:pt x="0" y="140"/>
                  </a:cubicBezTo>
                  <a:cubicBezTo>
                    <a:pt x="0" y="113"/>
                    <a:pt x="7" y="89"/>
                    <a:pt x="19" y="66"/>
                  </a:cubicBezTo>
                  <a:cubicBezTo>
                    <a:pt x="32" y="44"/>
                    <a:pt x="48" y="27"/>
                    <a:pt x="69" y="16"/>
                  </a:cubicBezTo>
                  <a:cubicBezTo>
                    <a:pt x="90" y="5"/>
                    <a:pt x="112" y="0"/>
                    <a:pt x="136" y="0"/>
                  </a:cubicBezTo>
                  <a:close/>
                  <a:moveTo>
                    <a:pt x="193" y="112"/>
                  </a:moveTo>
                  <a:cubicBezTo>
                    <a:pt x="189" y="92"/>
                    <a:pt x="183" y="77"/>
                    <a:pt x="174" y="68"/>
                  </a:cubicBezTo>
                  <a:cubicBezTo>
                    <a:pt x="164" y="59"/>
                    <a:pt x="151" y="55"/>
                    <a:pt x="134" y="55"/>
                  </a:cubicBezTo>
                  <a:cubicBezTo>
                    <a:pt x="116" y="55"/>
                    <a:pt x="102" y="60"/>
                    <a:pt x="92" y="70"/>
                  </a:cubicBezTo>
                  <a:cubicBezTo>
                    <a:pt x="81" y="80"/>
                    <a:pt x="75" y="94"/>
                    <a:pt x="73" y="112"/>
                  </a:cubicBezTo>
                  <a:lnTo>
                    <a:pt x="193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2106216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A5C8364B-1249-4673-9E7B-8DDAF948C2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06DFED90-ACFC-47D3-92F0-B2F57FD64E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10FA7AAF-CB38-44DF-8479-858280692F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AD5C8F-06A6-451E-A070-F2A6B69EA444}" type="datetimeFigureOut">
              <a:rPr lang="pl-PL" smtClean="0"/>
              <a:t>11.09.2024</a:t>
            </a:fld>
            <a:endParaRPr lang="pl-PL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15521667-2DA3-45DE-811E-5087E4443E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551CA55B-CBB3-4084-9993-360B0C4E83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0D9352-6EFF-4E73-9372-2EF6A10581FD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143274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126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43131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95289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50577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8439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466324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7612" y="357723"/>
            <a:ext cx="11355288" cy="5712877"/>
          </a:xfrm>
        </p:spPr>
        <p:txBody>
          <a:bodyPr/>
          <a:lstStyle>
            <a:lvl1pPr>
              <a:spcBef>
                <a:spcPts val="0"/>
              </a:spcBef>
              <a:defRPr sz="4000"/>
            </a:lvl1pPr>
            <a:lvl2pPr marL="482588" indent="-482588">
              <a:spcBef>
                <a:spcPts val="0"/>
              </a:spcBef>
              <a:buClrTx/>
              <a:buSzPct val="100000"/>
              <a:buFont typeface="+mj-lt"/>
              <a:buAutoNum type="arabicPeriod"/>
              <a:defRPr sz="40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pl-PL" noProof="0" dirty="0"/>
              <a:t>Kliknij, aby edytować treść</a:t>
            </a:r>
          </a:p>
          <a:p>
            <a:pPr lvl="1"/>
            <a:r>
              <a:rPr lang="pl-PL" noProof="0" dirty="0"/>
              <a:t>Drugi poziom</a:t>
            </a:r>
          </a:p>
        </p:txBody>
      </p:sp>
    </p:spTree>
    <p:extLst>
      <p:ext uri="{BB962C8B-B14F-4D97-AF65-F5344CB8AC3E}">
        <p14:creationId xmlns:p14="http://schemas.microsoft.com/office/powerpoint/2010/main" val="4143773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69385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00140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pl-PL"/>
              <a:t>Kliknij ikonę, aby dodać obraz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Edytuj style wzorca tekstu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59451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87924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87C983-CCAB-8348-AC70-83D90389F49F}" type="datetimeFigureOut">
              <a:rPr lang="en-GB" smtClean="0"/>
              <a:t>11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786317-512E-434C-8BF9-019406F55D2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0203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B5F88DEA-0909-8D46-B44A-697EA08753A8}"/>
              </a:ext>
            </a:extLst>
          </p:cNvPr>
          <p:cNvSpPr/>
          <p:nvPr userDrawn="1"/>
        </p:nvSpPr>
        <p:spPr>
          <a:xfrm>
            <a:off x="0" y="10872"/>
            <a:ext cx="12192000" cy="68782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6138852-4002-7B4A-9A3B-5D9621344A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26682" y="6253893"/>
            <a:ext cx="1091073" cy="38753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88B8260-114D-394F-973E-3FF6BB5363A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80102" y="458690"/>
            <a:ext cx="1737653" cy="659751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E7086181-77F5-CD45-8C19-74A2F04F3768}"/>
              </a:ext>
            </a:extLst>
          </p:cNvPr>
          <p:cNvGrpSpPr/>
          <p:nvPr userDrawn="1"/>
        </p:nvGrpSpPr>
        <p:grpSpPr>
          <a:xfrm>
            <a:off x="276479" y="5811348"/>
            <a:ext cx="5599899" cy="1430442"/>
            <a:chOff x="276479" y="5811348"/>
            <a:chExt cx="5599899" cy="143044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CAA5A93-0F20-AB4F-BB2C-004EFB0D05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73784"/>
            <a:stretch/>
          </p:blipFill>
          <p:spPr>
            <a:xfrm>
              <a:off x="1255356" y="5811348"/>
              <a:ext cx="1510996" cy="1430442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AFADFC5-D436-1140-B6EF-98034236F73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76479" y="6198313"/>
              <a:ext cx="698141" cy="393257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DF3206D-C394-E74A-A3FF-0CC539D13EC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25756" t="17682" r="32071" b="32959"/>
            <a:stretch/>
          </p:blipFill>
          <p:spPr>
            <a:xfrm>
              <a:off x="2766352" y="5983002"/>
              <a:ext cx="3110026" cy="9033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640606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311BC870-30D2-DA4F-83BF-9F3E2F553F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" r="31288"/>
          <a:stretch/>
        </p:blipFill>
        <p:spPr>
          <a:xfrm>
            <a:off x="3800721" y="-8058"/>
            <a:ext cx="8391279" cy="686605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32D541C-0B4E-4B4C-9236-38D7BF9A709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H="1">
            <a:off x="10405859" y="428872"/>
            <a:ext cx="1308100" cy="11684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F226C65-9258-964C-BBEE-A24613DAA6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8760"/>
          <a:stretch/>
        </p:blipFill>
        <p:spPr>
          <a:xfrm>
            <a:off x="0" y="0"/>
            <a:ext cx="7323736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46C55E0-AAFD-BD46-876A-D83DE183E53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78041" y="428872"/>
            <a:ext cx="4075872" cy="154752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8353A2D-D1E3-B54A-BFC8-0455CB26D1E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78040" y="4699885"/>
            <a:ext cx="1892300" cy="46081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BD1CE3-7B01-4343-8C59-301A0B89644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700341" y="5683012"/>
            <a:ext cx="2013619" cy="715220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CD94E893-F00C-EE42-A49D-32B10D82442B}"/>
              </a:ext>
            </a:extLst>
          </p:cNvPr>
          <p:cNvGrpSpPr/>
          <p:nvPr userDrawn="1"/>
        </p:nvGrpSpPr>
        <p:grpSpPr>
          <a:xfrm>
            <a:off x="276479" y="5811348"/>
            <a:ext cx="5599899" cy="1430442"/>
            <a:chOff x="276479" y="5811348"/>
            <a:chExt cx="5599899" cy="143044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370DA425-25B0-E440-B2D4-BB43C21FD93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r="73784"/>
            <a:stretch/>
          </p:blipFill>
          <p:spPr>
            <a:xfrm>
              <a:off x="1255356" y="5811348"/>
              <a:ext cx="1510996" cy="1430442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E0DF9F93-814C-914E-BB6D-D39106771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76479" y="6198313"/>
              <a:ext cx="698141" cy="393257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FB01AE8-8BE6-B645-B79A-6DC0D46A617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/>
            <a:srcRect l="25756" t="17682" r="32071" b="32959"/>
            <a:stretch/>
          </p:blipFill>
          <p:spPr>
            <a:xfrm>
              <a:off x="2766352" y="5983002"/>
              <a:ext cx="3110026" cy="9033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63203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BB05A55-3B92-1E41-A8A7-85E74A50BF05}"/>
              </a:ext>
            </a:extLst>
          </p:cNvPr>
          <p:cNvSpPr/>
          <p:nvPr userDrawn="1"/>
        </p:nvSpPr>
        <p:spPr>
          <a:xfrm>
            <a:off x="0" y="0"/>
            <a:ext cx="12192000" cy="68782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DE9AB80-DD04-1543-A5E3-3BF70190F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10811175" y="428872"/>
            <a:ext cx="902784" cy="80637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F297D20-5ABF-C544-9628-5238A804EE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66545" y="6008681"/>
            <a:ext cx="1251209" cy="44441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5022669-3563-4F4D-ADED-27A1E30E39F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8041" y="428873"/>
            <a:ext cx="1737653" cy="65975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BCAB4532-6830-1A4B-88D1-137EAB9F8A10}"/>
              </a:ext>
            </a:extLst>
          </p:cNvPr>
          <p:cNvGrpSpPr/>
          <p:nvPr userDrawn="1"/>
        </p:nvGrpSpPr>
        <p:grpSpPr>
          <a:xfrm>
            <a:off x="276479" y="5811348"/>
            <a:ext cx="5599899" cy="1430442"/>
            <a:chOff x="276479" y="5811348"/>
            <a:chExt cx="5599899" cy="143044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CCEF9AE-2146-A541-9570-6E27BA6294C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r="73784"/>
            <a:stretch/>
          </p:blipFill>
          <p:spPr>
            <a:xfrm>
              <a:off x="1255356" y="5811348"/>
              <a:ext cx="1510996" cy="1430442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648EA0D-0A07-324F-B80D-4C7CB97BAED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6479" y="6198313"/>
              <a:ext cx="698141" cy="393257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44FF4AA-686E-514D-9D49-13B7D8327C5B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25756" t="17682" r="32071" b="32959"/>
            <a:stretch/>
          </p:blipFill>
          <p:spPr>
            <a:xfrm>
              <a:off x="2766352" y="5983002"/>
              <a:ext cx="3110026" cy="9033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70570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FCE23549-E75E-0E44-A8B9-4786D0E4DE57}"/>
              </a:ext>
            </a:extLst>
          </p:cNvPr>
          <p:cNvSpPr/>
          <p:nvPr userDrawn="1"/>
        </p:nvSpPr>
        <p:spPr>
          <a:xfrm>
            <a:off x="0" y="6047874"/>
            <a:ext cx="12192000" cy="83035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57E4720-40DA-364E-8308-CDE3E39955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26682" y="6253893"/>
            <a:ext cx="1091073" cy="38753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6E58D3E-D2D4-B646-BF92-FDCAEBA5E4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980102" y="429005"/>
            <a:ext cx="1737653" cy="659619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6D17AF7C-EE7F-A249-B840-4AA3C5950092}"/>
              </a:ext>
            </a:extLst>
          </p:cNvPr>
          <p:cNvGrpSpPr/>
          <p:nvPr userDrawn="1"/>
        </p:nvGrpSpPr>
        <p:grpSpPr>
          <a:xfrm>
            <a:off x="276479" y="5811348"/>
            <a:ext cx="5599899" cy="1430442"/>
            <a:chOff x="276479" y="5811348"/>
            <a:chExt cx="5599899" cy="1430442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64E1231-8407-7244-904F-D237E8EBDB7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r="73784"/>
            <a:stretch/>
          </p:blipFill>
          <p:spPr>
            <a:xfrm>
              <a:off x="1255356" y="5811348"/>
              <a:ext cx="1510996" cy="1430442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5E172AB-AE91-374E-9A11-60D5D100CA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76479" y="6198313"/>
              <a:ext cx="698141" cy="393257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9F2C06DF-5919-9B49-B5D8-7C525396985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25756" t="17682" r="32071" b="32959"/>
            <a:stretch/>
          </p:blipFill>
          <p:spPr>
            <a:xfrm>
              <a:off x="2766352" y="5983002"/>
              <a:ext cx="3110026" cy="9033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08420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8D524D7-E857-2B4F-B1AC-7AFE39532F94}"/>
              </a:ext>
            </a:extLst>
          </p:cNvPr>
          <p:cNvSpPr/>
          <p:nvPr userDrawn="1"/>
        </p:nvSpPr>
        <p:spPr>
          <a:xfrm>
            <a:off x="0" y="0"/>
            <a:ext cx="12192000" cy="687822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312B9E-B348-1B45-8969-4814C229CFF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9218" y="6277443"/>
            <a:ext cx="2310063" cy="51657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A14E8C8-0FDE-3F46-8838-D51CDD2AD1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66545" y="352510"/>
            <a:ext cx="1251209" cy="44441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C0F7DAD-ECC7-7640-B25B-D443B648CE3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8041" y="428873"/>
            <a:ext cx="1737653" cy="65975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7BAF9-9777-2247-8DC8-CF46F8843216}"/>
              </a:ext>
            </a:extLst>
          </p:cNvPr>
          <p:cNvGrpSpPr/>
          <p:nvPr userDrawn="1"/>
        </p:nvGrpSpPr>
        <p:grpSpPr>
          <a:xfrm>
            <a:off x="276479" y="5811348"/>
            <a:ext cx="5599899" cy="1430442"/>
            <a:chOff x="276479" y="5811348"/>
            <a:chExt cx="5599899" cy="1430442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2F21AE0-81D7-F945-A694-EC54262281F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r="73784"/>
            <a:stretch/>
          </p:blipFill>
          <p:spPr>
            <a:xfrm>
              <a:off x="1255356" y="5811348"/>
              <a:ext cx="1510996" cy="1430442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BD846D1C-CC86-E049-BEF7-1678A75DE74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76479" y="6198313"/>
              <a:ext cx="698141" cy="393257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6660DDC-C96A-B54B-B95E-143797BE8DD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/>
            <a:srcRect l="25756" t="17682" r="32071" b="32959"/>
            <a:stretch/>
          </p:blipFill>
          <p:spPr>
            <a:xfrm>
              <a:off x="2766352" y="5983002"/>
              <a:ext cx="3110026" cy="90338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5362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18359" y="357718"/>
            <a:ext cx="8129119" cy="5708649"/>
          </a:xfrm>
        </p:spPr>
        <p:txBody>
          <a:bodyPr>
            <a:normAutofit/>
          </a:bodyPr>
          <a:lstStyle>
            <a:lvl1pPr>
              <a:lnSpc>
                <a:spcPct val="85000"/>
              </a:lnSpc>
              <a:spcBef>
                <a:spcPts val="0"/>
              </a:spcBef>
              <a:buNone/>
              <a:defRPr sz="7333" baseline="0"/>
            </a:lvl1pPr>
            <a:lvl2pPr>
              <a:lnSpc>
                <a:spcPct val="85000"/>
              </a:lnSpc>
              <a:spcBef>
                <a:spcPts val="0"/>
              </a:spcBef>
              <a:defRPr sz="7333"/>
            </a:lvl2pPr>
            <a:lvl3pPr>
              <a:defRPr sz="7333"/>
            </a:lvl3pPr>
            <a:lvl4pPr>
              <a:defRPr sz="7333"/>
            </a:lvl4pPr>
            <a:lvl5pPr>
              <a:defRPr sz="7333"/>
            </a:lvl5pPr>
          </a:lstStyle>
          <a:p>
            <a:pPr lvl="0"/>
            <a:r>
              <a:rPr lang="pl-PL" noProof="0" dirty="0"/>
              <a:t>Kliknij, aby edytować numer rozdziału</a:t>
            </a:r>
          </a:p>
          <a:p>
            <a:pPr lvl="1"/>
            <a:r>
              <a:rPr lang="pl-PL" noProof="0" dirty="0"/>
              <a:t>Drugi poziom</a:t>
            </a:r>
          </a:p>
        </p:txBody>
      </p:sp>
    </p:spTree>
    <p:extLst>
      <p:ext uri="{BB962C8B-B14F-4D97-AF65-F5344CB8AC3E}">
        <p14:creationId xmlns:p14="http://schemas.microsoft.com/office/powerpoint/2010/main" val="391300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1847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3290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5"/>
          <p:cNvSpPr/>
          <p:nvPr userDrawn="1"/>
        </p:nvSpPr>
        <p:spPr>
          <a:xfrm>
            <a:off x="224367" y="5958419"/>
            <a:ext cx="5649384" cy="6455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9" rIns="121917" bIns="60959" anchor="ctr"/>
          <a:lstStyle/>
          <a:p>
            <a:pPr algn="ctr" defTabSz="950336" eaLnBrk="1" hangingPunct="1">
              <a:defRPr/>
            </a:pPr>
            <a:endParaRPr lang="en-GB" sz="1867">
              <a:solidFill>
                <a:srgbClr val="000000"/>
              </a:solidFill>
            </a:endParaRPr>
          </a:p>
        </p:txBody>
      </p:sp>
      <p:grpSp>
        <p:nvGrpSpPr>
          <p:cNvPr id="6" name="Group 7"/>
          <p:cNvGrpSpPr>
            <a:grpSpLocks/>
          </p:cNvGrpSpPr>
          <p:nvPr userDrawn="1"/>
        </p:nvGrpSpPr>
        <p:grpSpPr bwMode="auto">
          <a:xfrm>
            <a:off x="452967" y="5507567"/>
            <a:ext cx="901700" cy="901700"/>
            <a:chOff x="360362" y="1781889"/>
            <a:chExt cx="1144765" cy="1144191"/>
          </a:xfrm>
        </p:grpSpPr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360362" y="1781889"/>
              <a:ext cx="1144765" cy="1144191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1pPr>
              <a:lvl2pPr eaLnBrk="0" hangingPunct="0"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2pPr>
              <a:lvl3pPr eaLnBrk="0" hangingPunct="0"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3pPr>
              <a:lvl4pPr eaLnBrk="0" hangingPunct="0"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4pPr>
              <a:lvl5pPr eaLnBrk="0" hangingPunct="0"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5pPr>
              <a:lvl6pPr marL="18827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6pPr>
              <a:lvl7pPr marL="23399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7pPr>
              <a:lvl8pPr marL="27971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8pPr>
              <a:lvl9pPr marL="3254375" indent="403225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Helvetica 75"/>
                  <a:ea typeface="ＭＳ Ｐゴシック" pitchFamily="34" charset="-128"/>
                </a:defRPr>
              </a:lvl9pPr>
            </a:lstStyle>
            <a:p>
              <a:pPr eaLnBrk="1" hangingPunct="1">
                <a:lnSpc>
                  <a:spcPct val="90000"/>
                </a:lnSpc>
                <a:spcAft>
                  <a:spcPts val="1600"/>
                </a:spcAft>
                <a:defRPr/>
              </a:pPr>
              <a:endParaRPr lang="pl-PL" altLang="pl-PL" sz="2400">
                <a:solidFill>
                  <a:srgbClr val="FF6600"/>
                </a:solidFill>
                <a:latin typeface="Helvetica 75 Bold" pitchFamily="34" charset="0"/>
              </a:endParaRPr>
            </a:p>
          </p:txBody>
        </p:sp>
        <p:sp>
          <p:nvSpPr>
            <p:cNvPr id="8" name="Freeform 9"/>
            <p:cNvSpPr>
              <a:spLocks noEditPoints="1"/>
            </p:cNvSpPr>
            <p:nvPr/>
          </p:nvSpPr>
          <p:spPr bwMode="auto">
            <a:xfrm>
              <a:off x="702813" y="2650392"/>
              <a:ext cx="142160" cy="166334"/>
            </a:xfrm>
            <a:custGeom>
              <a:avLst/>
              <a:gdLst>
                <a:gd name="T0" fmla="*/ 2147483647 w 104"/>
                <a:gd name="T1" fmla="*/ 2147483647 h 122"/>
                <a:gd name="T2" fmla="*/ 2147483647 w 104"/>
                <a:gd name="T3" fmla="*/ 2147483647 h 122"/>
                <a:gd name="T4" fmla="*/ 2147483647 w 104"/>
                <a:gd name="T5" fmla="*/ 2147483647 h 122"/>
                <a:gd name="T6" fmla="*/ 2147483647 w 104"/>
                <a:gd name="T7" fmla="*/ 2147483647 h 122"/>
                <a:gd name="T8" fmla="*/ 2147483647 w 104"/>
                <a:gd name="T9" fmla="*/ 2147483647 h 122"/>
                <a:gd name="T10" fmla="*/ 2147483647 w 104"/>
                <a:gd name="T11" fmla="*/ 2147483647 h 122"/>
                <a:gd name="T12" fmla="*/ 2147483647 w 104"/>
                <a:gd name="T13" fmla="*/ 2147483647 h 122"/>
                <a:gd name="T14" fmla="*/ 0 w 104"/>
                <a:gd name="T15" fmla="*/ 2147483647 h 122"/>
                <a:gd name="T16" fmla="*/ 2147483647 w 104"/>
                <a:gd name="T17" fmla="*/ 2147483647 h 122"/>
                <a:gd name="T18" fmla="*/ 2147483647 w 104"/>
                <a:gd name="T19" fmla="*/ 2147483647 h 122"/>
                <a:gd name="T20" fmla="*/ 2147483647 w 104"/>
                <a:gd name="T21" fmla="*/ 2147483647 h 122"/>
                <a:gd name="T22" fmla="*/ 2147483647 w 104"/>
                <a:gd name="T23" fmla="*/ 2147483647 h 122"/>
                <a:gd name="T24" fmla="*/ 2147483647 w 104"/>
                <a:gd name="T25" fmla="*/ 2147483647 h 122"/>
                <a:gd name="T26" fmla="*/ 2147483647 w 104"/>
                <a:gd name="T27" fmla="*/ 0 h 122"/>
                <a:gd name="T28" fmla="*/ 2147483647 w 104"/>
                <a:gd name="T29" fmla="*/ 2147483647 h 122"/>
                <a:gd name="T30" fmla="*/ 2147483647 w 104"/>
                <a:gd name="T31" fmla="*/ 2147483647 h 122"/>
                <a:gd name="T32" fmla="*/ 2147483647 w 104"/>
                <a:gd name="T33" fmla="*/ 2147483647 h 122"/>
                <a:gd name="T34" fmla="*/ 2147483647 w 104"/>
                <a:gd name="T35" fmla="*/ 2147483647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4" h="122">
                  <a:moveTo>
                    <a:pt x="31" y="85"/>
                  </a:moveTo>
                  <a:cubicBezTo>
                    <a:pt x="31" y="93"/>
                    <a:pt x="36" y="101"/>
                    <a:pt x="45" y="101"/>
                  </a:cubicBezTo>
                  <a:cubicBezTo>
                    <a:pt x="54" y="101"/>
                    <a:pt x="64" y="97"/>
                    <a:pt x="73" y="88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44" y="64"/>
                    <a:pt x="31" y="71"/>
                    <a:pt x="31" y="85"/>
                  </a:cubicBezTo>
                  <a:moveTo>
                    <a:pt x="74" y="110"/>
                  </a:moveTo>
                  <a:cubicBezTo>
                    <a:pt x="62" y="118"/>
                    <a:pt x="49" y="122"/>
                    <a:pt x="35" y="122"/>
                  </a:cubicBezTo>
                  <a:cubicBezTo>
                    <a:pt x="13" y="122"/>
                    <a:pt x="0" y="107"/>
                    <a:pt x="0" y="88"/>
                  </a:cubicBezTo>
                  <a:cubicBezTo>
                    <a:pt x="0" y="61"/>
                    <a:pt x="24" y="47"/>
                    <a:pt x="74" y="42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27"/>
                    <a:pt x="68" y="22"/>
                    <a:pt x="56" y="22"/>
                  </a:cubicBezTo>
                  <a:cubicBezTo>
                    <a:pt x="44" y="22"/>
                    <a:pt x="34" y="26"/>
                    <a:pt x="27" y="35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17" y="8"/>
                    <a:pt x="34" y="0"/>
                    <a:pt x="56" y="0"/>
                  </a:cubicBezTo>
                  <a:cubicBezTo>
                    <a:pt x="87" y="0"/>
                    <a:pt x="104" y="14"/>
                    <a:pt x="104" y="35"/>
                  </a:cubicBezTo>
                  <a:cubicBezTo>
                    <a:pt x="104" y="35"/>
                    <a:pt x="104" y="120"/>
                    <a:pt x="104" y="120"/>
                  </a:cubicBezTo>
                  <a:cubicBezTo>
                    <a:pt x="77" y="120"/>
                    <a:pt x="77" y="120"/>
                    <a:pt x="77" y="120"/>
                  </a:cubicBezTo>
                  <a:lnTo>
                    <a:pt x="74" y="1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878931" y="2650392"/>
              <a:ext cx="143311" cy="164031"/>
            </a:xfrm>
            <a:custGeom>
              <a:avLst/>
              <a:gdLst>
                <a:gd name="T0" fmla="*/ 0 w 105"/>
                <a:gd name="T1" fmla="*/ 2147483647 h 120"/>
                <a:gd name="T2" fmla="*/ 2147483647 w 105"/>
                <a:gd name="T3" fmla="*/ 2147483647 h 120"/>
                <a:gd name="T4" fmla="*/ 2147483647 w 105"/>
                <a:gd name="T5" fmla="*/ 2147483647 h 120"/>
                <a:gd name="T6" fmla="*/ 2147483647 w 105"/>
                <a:gd name="T7" fmla="*/ 0 h 120"/>
                <a:gd name="T8" fmla="*/ 2147483647 w 105"/>
                <a:gd name="T9" fmla="*/ 2147483647 h 120"/>
                <a:gd name="T10" fmla="*/ 2147483647 w 105"/>
                <a:gd name="T11" fmla="*/ 2147483647 h 120"/>
                <a:gd name="T12" fmla="*/ 2147483647 w 105"/>
                <a:gd name="T13" fmla="*/ 2147483647 h 120"/>
                <a:gd name="T14" fmla="*/ 2147483647 w 105"/>
                <a:gd name="T15" fmla="*/ 2147483647 h 120"/>
                <a:gd name="T16" fmla="*/ 2147483647 w 105"/>
                <a:gd name="T17" fmla="*/ 2147483647 h 120"/>
                <a:gd name="T18" fmla="*/ 2147483647 w 105"/>
                <a:gd name="T19" fmla="*/ 2147483647 h 120"/>
                <a:gd name="T20" fmla="*/ 2147483647 w 105"/>
                <a:gd name="T21" fmla="*/ 2147483647 h 120"/>
                <a:gd name="T22" fmla="*/ 0 w 105"/>
                <a:gd name="T23" fmla="*/ 2147483647 h 120"/>
                <a:gd name="T24" fmla="*/ 0 w 105"/>
                <a:gd name="T25" fmla="*/ 2147483647 h 12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05" h="120">
                  <a:moveTo>
                    <a:pt x="0" y="6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42" y="6"/>
                    <a:pt x="54" y="0"/>
                    <a:pt x="68" y="0"/>
                  </a:cubicBezTo>
                  <a:cubicBezTo>
                    <a:pt x="92" y="0"/>
                    <a:pt x="105" y="13"/>
                    <a:pt x="105" y="38"/>
                  </a:cubicBezTo>
                  <a:cubicBezTo>
                    <a:pt x="105" y="120"/>
                    <a:pt x="105" y="120"/>
                    <a:pt x="105" y="120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29"/>
                    <a:pt x="70" y="23"/>
                    <a:pt x="59" y="23"/>
                  </a:cubicBezTo>
                  <a:cubicBezTo>
                    <a:pt x="50" y="23"/>
                    <a:pt x="41" y="27"/>
                    <a:pt x="30" y="36"/>
                  </a:cubicBezTo>
                  <a:cubicBezTo>
                    <a:pt x="30" y="120"/>
                    <a:pt x="30" y="120"/>
                    <a:pt x="30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225411" y="2650392"/>
              <a:ext cx="149067" cy="166334"/>
            </a:xfrm>
            <a:custGeom>
              <a:avLst/>
              <a:gdLst>
                <a:gd name="T0" fmla="*/ 2147483647 w 109"/>
                <a:gd name="T1" fmla="*/ 2147483647 h 122"/>
                <a:gd name="T2" fmla="*/ 2147483647 w 109"/>
                <a:gd name="T3" fmla="*/ 2147483647 h 122"/>
                <a:gd name="T4" fmla="*/ 2147483647 w 109"/>
                <a:gd name="T5" fmla="*/ 2147483647 h 122"/>
                <a:gd name="T6" fmla="*/ 2147483647 w 109"/>
                <a:gd name="T7" fmla="*/ 2147483647 h 122"/>
                <a:gd name="T8" fmla="*/ 2147483647 w 109"/>
                <a:gd name="T9" fmla="*/ 2147483647 h 122"/>
                <a:gd name="T10" fmla="*/ 0 w 109"/>
                <a:gd name="T11" fmla="*/ 2147483647 h 122"/>
                <a:gd name="T12" fmla="*/ 2147483647 w 109"/>
                <a:gd name="T13" fmla="*/ 0 h 122"/>
                <a:gd name="T14" fmla="*/ 2147483647 w 109"/>
                <a:gd name="T15" fmla="*/ 2147483647 h 122"/>
                <a:gd name="T16" fmla="*/ 2147483647 w 109"/>
                <a:gd name="T17" fmla="*/ 2147483647 h 122"/>
                <a:gd name="T18" fmla="*/ 2147483647 w 109"/>
                <a:gd name="T19" fmla="*/ 2147483647 h 122"/>
                <a:gd name="T20" fmla="*/ 2147483647 w 109"/>
                <a:gd name="T21" fmla="*/ 2147483647 h 122"/>
                <a:gd name="T22" fmla="*/ 2147483647 w 109"/>
                <a:gd name="T23" fmla="*/ 2147483647 h 122"/>
                <a:gd name="T24" fmla="*/ 2147483647 w 109"/>
                <a:gd name="T25" fmla="*/ 2147483647 h 122"/>
                <a:gd name="T26" fmla="*/ 2147483647 w 109"/>
                <a:gd name="T27" fmla="*/ 2147483647 h 12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09" h="122">
                  <a:moveTo>
                    <a:pt x="79" y="46"/>
                  </a:moveTo>
                  <a:cubicBezTo>
                    <a:pt x="79" y="30"/>
                    <a:pt x="70" y="21"/>
                    <a:pt x="55" y="21"/>
                  </a:cubicBezTo>
                  <a:cubicBezTo>
                    <a:pt x="41" y="21"/>
                    <a:pt x="32" y="30"/>
                    <a:pt x="31" y="46"/>
                  </a:cubicBezTo>
                  <a:lnTo>
                    <a:pt x="79" y="46"/>
                  </a:lnTo>
                  <a:close/>
                  <a:moveTo>
                    <a:pt x="56" y="122"/>
                  </a:moveTo>
                  <a:cubicBezTo>
                    <a:pt x="21" y="122"/>
                    <a:pt x="0" y="100"/>
                    <a:pt x="0" y="62"/>
                  </a:cubicBezTo>
                  <a:cubicBezTo>
                    <a:pt x="0" y="22"/>
                    <a:pt x="21" y="0"/>
                    <a:pt x="55" y="0"/>
                  </a:cubicBezTo>
                  <a:cubicBezTo>
                    <a:pt x="89" y="0"/>
                    <a:pt x="109" y="22"/>
                    <a:pt x="109" y="60"/>
                  </a:cubicBezTo>
                  <a:cubicBezTo>
                    <a:pt x="109" y="62"/>
                    <a:pt x="109" y="64"/>
                    <a:pt x="109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88"/>
                    <a:pt x="40" y="100"/>
                    <a:pt x="58" y="100"/>
                  </a:cubicBezTo>
                  <a:cubicBezTo>
                    <a:pt x="70" y="100"/>
                    <a:pt x="78" y="95"/>
                    <a:pt x="85" y="84"/>
                  </a:cubicBezTo>
                  <a:cubicBezTo>
                    <a:pt x="108" y="97"/>
                    <a:pt x="108" y="97"/>
                    <a:pt x="108" y="97"/>
                  </a:cubicBezTo>
                  <a:cubicBezTo>
                    <a:pt x="98" y="114"/>
                    <a:pt x="80" y="122"/>
                    <a:pt x="56" y="1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15039" y="2650392"/>
              <a:ext cx="158276" cy="169211"/>
            </a:xfrm>
            <a:custGeom>
              <a:avLst/>
              <a:gdLst>
                <a:gd name="T0" fmla="*/ 2147483647 w 116"/>
                <a:gd name="T1" fmla="*/ 2147483647 h 124"/>
                <a:gd name="T2" fmla="*/ 2147483647 w 116"/>
                <a:gd name="T3" fmla="*/ 2147483647 h 124"/>
                <a:gd name="T4" fmla="*/ 2147483647 w 116"/>
                <a:gd name="T5" fmla="*/ 2147483647 h 124"/>
                <a:gd name="T6" fmla="*/ 2147483647 w 116"/>
                <a:gd name="T7" fmla="*/ 2147483647 h 124"/>
                <a:gd name="T8" fmla="*/ 2147483647 w 116"/>
                <a:gd name="T9" fmla="*/ 2147483647 h 124"/>
                <a:gd name="T10" fmla="*/ 2147483647 w 116"/>
                <a:gd name="T11" fmla="*/ 2147483647 h 124"/>
                <a:gd name="T12" fmla="*/ 0 w 116"/>
                <a:gd name="T13" fmla="*/ 2147483647 h 124"/>
                <a:gd name="T14" fmla="*/ 2147483647 w 116"/>
                <a:gd name="T15" fmla="*/ 0 h 124"/>
                <a:gd name="T16" fmla="*/ 2147483647 w 116"/>
                <a:gd name="T17" fmla="*/ 2147483647 h 124"/>
                <a:gd name="T18" fmla="*/ 2147483647 w 116"/>
                <a:gd name="T19" fmla="*/ 2147483647 h 1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116" h="124">
                  <a:moveTo>
                    <a:pt x="58" y="26"/>
                  </a:moveTo>
                  <a:cubicBezTo>
                    <a:pt x="35" y="26"/>
                    <a:pt x="31" y="47"/>
                    <a:pt x="31" y="62"/>
                  </a:cubicBezTo>
                  <a:cubicBezTo>
                    <a:pt x="31" y="77"/>
                    <a:pt x="35" y="98"/>
                    <a:pt x="58" y="98"/>
                  </a:cubicBezTo>
                  <a:cubicBezTo>
                    <a:pt x="81" y="98"/>
                    <a:pt x="85" y="77"/>
                    <a:pt x="85" y="62"/>
                  </a:cubicBezTo>
                  <a:cubicBezTo>
                    <a:pt x="85" y="47"/>
                    <a:pt x="81" y="26"/>
                    <a:pt x="58" y="26"/>
                  </a:cubicBezTo>
                  <a:moveTo>
                    <a:pt x="58" y="124"/>
                  </a:moveTo>
                  <a:cubicBezTo>
                    <a:pt x="27" y="124"/>
                    <a:pt x="0" y="104"/>
                    <a:pt x="0" y="62"/>
                  </a:cubicBezTo>
                  <a:cubicBezTo>
                    <a:pt x="0" y="19"/>
                    <a:pt x="27" y="0"/>
                    <a:pt x="58" y="0"/>
                  </a:cubicBezTo>
                  <a:cubicBezTo>
                    <a:pt x="88" y="0"/>
                    <a:pt x="116" y="19"/>
                    <a:pt x="116" y="62"/>
                  </a:cubicBezTo>
                  <a:cubicBezTo>
                    <a:pt x="116" y="104"/>
                    <a:pt x="88" y="124"/>
                    <a:pt x="58" y="12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2" name="Freeform 10"/>
            <p:cNvSpPr>
              <a:spLocks/>
            </p:cNvSpPr>
            <p:nvPr/>
          </p:nvSpPr>
          <p:spPr bwMode="auto">
            <a:xfrm>
              <a:off x="602092" y="2650392"/>
              <a:ext cx="89785" cy="164031"/>
            </a:xfrm>
            <a:custGeom>
              <a:avLst/>
              <a:gdLst>
                <a:gd name="T0" fmla="*/ 0 w 66"/>
                <a:gd name="T1" fmla="*/ 2147483647 h 120"/>
                <a:gd name="T2" fmla="*/ 2147483647 w 66"/>
                <a:gd name="T3" fmla="*/ 2147483647 h 120"/>
                <a:gd name="T4" fmla="*/ 2147483647 w 66"/>
                <a:gd name="T5" fmla="*/ 2147483647 h 120"/>
                <a:gd name="T6" fmla="*/ 2147483647 w 66"/>
                <a:gd name="T7" fmla="*/ 0 h 120"/>
                <a:gd name="T8" fmla="*/ 2147483647 w 66"/>
                <a:gd name="T9" fmla="*/ 2147483647 h 120"/>
                <a:gd name="T10" fmla="*/ 2147483647 w 66"/>
                <a:gd name="T11" fmla="*/ 2147483647 h 120"/>
                <a:gd name="T12" fmla="*/ 2147483647 w 66"/>
                <a:gd name="T13" fmla="*/ 2147483647 h 120"/>
                <a:gd name="T14" fmla="*/ 2147483647 w 66"/>
                <a:gd name="T15" fmla="*/ 2147483647 h 120"/>
                <a:gd name="T16" fmla="*/ 2147483647 w 66"/>
                <a:gd name="T17" fmla="*/ 2147483647 h 120"/>
                <a:gd name="T18" fmla="*/ 0 w 66"/>
                <a:gd name="T19" fmla="*/ 2147483647 h 120"/>
                <a:gd name="T20" fmla="*/ 0 w 66"/>
                <a:gd name="T21" fmla="*/ 2147483647 h 12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66" h="120">
                  <a:moveTo>
                    <a:pt x="0" y="3"/>
                  </a:moveTo>
                  <a:cubicBezTo>
                    <a:pt x="30" y="3"/>
                    <a:pt x="30" y="3"/>
                    <a:pt x="30" y="3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35" y="9"/>
                    <a:pt x="49" y="0"/>
                    <a:pt x="62" y="0"/>
                  </a:cubicBezTo>
                  <a:cubicBezTo>
                    <a:pt x="63" y="0"/>
                    <a:pt x="65" y="0"/>
                    <a:pt x="66" y="1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51" y="30"/>
                    <a:pt x="36" y="32"/>
                    <a:pt x="32" y="42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0" y="120"/>
                    <a:pt x="0" y="120"/>
                    <a:pt x="0" y="12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3" name="Freeform 11"/>
            <p:cNvSpPr>
              <a:spLocks noEditPoints="1"/>
            </p:cNvSpPr>
            <p:nvPr/>
          </p:nvSpPr>
          <p:spPr bwMode="auto">
            <a:xfrm>
              <a:off x="1051020" y="2650392"/>
              <a:ext cx="149642" cy="226766"/>
            </a:xfrm>
            <a:custGeom>
              <a:avLst/>
              <a:gdLst>
                <a:gd name="T0" fmla="*/ 2147483647 w 110"/>
                <a:gd name="T1" fmla="*/ 2147483647 h 166"/>
                <a:gd name="T2" fmla="*/ 2147483647 w 110"/>
                <a:gd name="T3" fmla="*/ 2147483647 h 166"/>
                <a:gd name="T4" fmla="*/ 2147483647 w 110"/>
                <a:gd name="T5" fmla="*/ 2147483647 h 166"/>
                <a:gd name="T6" fmla="*/ 2147483647 w 110"/>
                <a:gd name="T7" fmla="*/ 2147483647 h 166"/>
                <a:gd name="T8" fmla="*/ 2147483647 w 110"/>
                <a:gd name="T9" fmla="*/ 2147483647 h 166"/>
                <a:gd name="T10" fmla="*/ 2147483647 w 110"/>
                <a:gd name="T11" fmla="*/ 2147483647 h 166"/>
                <a:gd name="T12" fmla="*/ 2147483647 w 110"/>
                <a:gd name="T13" fmla="*/ 2147483647 h 166"/>
                <a:gd name="T14" fmla="*/ 2147483647 w 110"/>
                <a:gd name="T15" fmla="*/ 2147483647 h 166"/>
                <a:gd name="T16" fmla="*/ 2147483647 w 110"/>
                <a:gd name="T17" fmla="*/ 2147483647 h 166"/>
                <a:gd name="T18" fmla="*/ 2147483647 w 110"/>
                <a:gd name="T19" fmla="*/ 2147483647 h 166"/>
                <a:gd name="T20" fmla="*/ 0 w 110"/>
                <a:gd name="T21" fmla="*/ 2147483647 h 166"/>
                <a:gd name="T22" fmla="*/ 2147483647 w 110"/>
                <a:gd name="T23" fmla="*/ 0 h 166"/>
                <a:gd name="T24" fmla="*/ 2147483647 w 110"/>
                <a:gd name="T25" fmla="*/ 2147483647 h 166"/>
                <a:gd name="T26" fmla="*/ 2147483647 w 110"/>
                <a:gd name="T27" fmla="*/ 2147483647 h 166"/>
                <a:gd name="T28" fmla="*/ 2147483647 w 110"/>
                <a:gd name="T29" fmla="*/ 2147483647 h 166"/>
                <a:gd name="T30" fmla="*/ 2147483647 w 110"/>
                <a:gd name="T31" fmla="*/ 2147483647 h 166"/>
                <a:gd name="T32" fmla="*/ 2147483647 w 110"/>
                <a:gd name="T33" fmla="*/ 2147483647 h 166"/>
                <a:gd name="T34" fmla="*/ 2147483647 w 110"/>
                <a:gd name="T35" fmla="*/ 2147483647 h 166"/>
                <a:gd name="T36" fmla="*/ 2147483647 w 110"/>
                <a:gd name="T37" fmla="*/ 2147483647 h 166"/>
                <a:gd name="T38" fmla="*/ 2147483647 w 110"/>
                <a:gd name="T39" fmla="*/ 2147483647 h 166"/>
                <a:gd name="T40" fmla="*/ 2147483647 w 110"/>
                <a:gd name="T41" fmla="*/ 2147483647 h 16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110" h="166">
                  <a:moveTo>
                    <a:pt x="110" y="2"/>
                  </a:moveTo>
                  <a:cubicBezTo>
                    <a:pt x="110" y="114"/>
                    <a:pt x="110" y="114"/>
                    <a:pt x="110" y="114"/>
                  </a:cubicBezTo>
                  <a:cubicBezTo>
                    <a:pt x="110" y="133"/>
                    <a:pt x="108" y="166"/>
                    <a:pt x="52" y="166"/>
                  </a:cubicBezTo>
                  <a:cubicBezTo>
                    <a:pt x="29" y="166"/>
                    <a:pt x="8" y="157"/>
                    <a:pt x="3" y="137"/>
                  </a:cubicBezTo>
                  <a:cubicBezTo>
                    <a:pt x="34" y="132"/>
                    <a:pt x="34" y="132"/>
                    <a:pt x="34" y="132"/>
                  </a:cubicBezTo>
                  <a:cubicBezTo>
                    <a:pt x="35" y="138"/>
                    <a:pt x="39" y="143"/>
                    <a:pt x="56" y="143"/>
                  </a:cubicBezTo>
                  <a:cubicBezTo>
                    <a:pt x="72" y="143"/>
                    <a:pt x="80" y="136"/>
                    <a:pt x="80" y="117"/>
                  </a:cubicBezTo>
                  <a:cubicBezTo>
                    <a:pt x="80" y="104"/>
                    <a:pt x="80" y="104"/>
                    <a:pt x="80" y="104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74" y="112"/>
                    <a:pt x="67" y="120"/>
                    <a:pt x="49" y="120"/>
                  </a:cubicBezTo>
                  <a:cubicBezTo>
                    <a:pt x="22" y="120"/>
                    <a:pt x="0" y="101"/>
                    <a:pt x="0" y="62"/>
                  </a:cubicBezTo>
                  <a:cubicBezTo>
                    <a:pt x="0" y="22"/>
                    <a:pt x="22" y="0"/>
                    <a:pt x="47" y="0"/>
                  </a:cubicBezTo>
                  <a:cubicBezTo>
                    <a:pt x="71" y="0"/>
                    <a:pt x="79" y="11"/>
                    <a:pt x="81" y="17"/>
                  </a:cubicBezTo>
                  <a:cubicBezTo>
                    <a:pt x="81" y="16"/>
                    <a:pt x="81" y="16"/>
                    <a:pt x="81" y="16"/>
                  </a:cubicBezTo>
                  <a:cubicBezTo>
                    <a:pt x="84" y="2"/>
                    <a:pt x="84" y="2"/>
                    <a:pt x="84" y="2"/>
                  </a:cubicBezTo>
                  <a:lnTo>
                    <a:pt x="110" y="2"/>
                  </a:lnTo>
                  <a:close/>
                  <a:moveTo>
                    <a:pt x="55" y="95"/>
                  </a:moveTo>
                  <a:cubicBezTo>
                    <a:pt x="78" y="95"/>
                    <a:pt x="80" y="71"/>
                    <a:pt x="80" y="55"/>
                  </a:cubicBezTo>
                  <a:cubicBezTo>
                    <a:pt x="80" y="37"/>
                    <a:pt x="71" y="22"/>
                    <a:pt x="54" y="22"/>
                  </a:cubicBezTo>
                  <a:cubicBezTo>
                    <a:pt x="43" y="22"/>
                    <a:pt x="31" y="30"/>
                    <a:pt x="31" y="57"/>
                  </a:cubicBezTo>
                  <a:cubicBezTo>
                    <a:pt x="31" y="71"/>
                    <a:pt x="32" y="95"/>
                    <a:pt x="55" y="9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1348002" y="2593413"/>
              <a:ext cx="112232" cy="52950"/>
            </a:xfrm>
            <a:custGeom>
              <a:avLst/>
              <a:gdLst>
                <a:gd name="T0" fmla="*/ 2147483647 w 195"/>
                <a:gd name="T1" fmla="*/ 2147483647 h 92"/>
                <a:gd name="T2" fmla="*/ 2147483647 w 195"/>
                <a:gd name="T3" fmla="*/ 2147483647 h 92"/>
                <a:gd name="T4" fmla="*/ 2147483647 w 195"/>
                <a:gd name="T5" fmla="*/ 2147483647 h 92"/>
                <a:gd name="T6" fmla="*/ 2147483647 w 195"/>
                <a:gd name="T7" fmla="*/ 2147483647 h 92"/>
                <a:gd name="T8" fmla="*/ 2147483647 w 195"/>
                <a:gd name="T9" fmla="*/ 2147483647 h 92"/>
                <a:gd name="T10" fmla="*/ 2147483647 w 195"/>
                <a:gd name="T11" fmla="*/ 2147483647 h 92"/>
                <a:gd name="T12" fmla="*/ 2147483647 w 195"/>
                <a:gd name="T13" fmla="*/ 2147483647 h 92"/>
                <a:gd name="T14" fmla="*/ 2147483647 w 195"/>
                <a:gd name="T15" fmla="*/ 2147483647 h 92"/>
                <a:gd name="T16" fmla="*/ 2147483647 w 195"/>
                <a:gd name="T17" fmla="*/ 2147483647 h 92"/>
                <a:gd name="T18" fmla="*/ 2147483647 w 195"/>
                <a:gd name="T19" fmla="*/ 2147483647 h 92"/>
                <a:gd name="T20" fmla="*/ 2147483647 w 195"/>
                <a:gd name="T21" fmla="*/ 0 h 92"/>
                <a:gd name="T22" fmla="*/ 2147483647 w 195"/>
                <a:gd name="T23" fmla="*/ 0 h 92"/>
                <a:gd name="T24" fmla="*/ 2147483647 w 195"/>
                <a:gd name="T25" fmla="*/ 2147483647 h 92"/>
                <a:gd name="T26" fmla="*/ 2147483647 w 195"/>
                <a:gd name="T27" fmla="*/ 0 h 92"/>
                <a:gd name="T28" fmla="*/ 2147483647 w 195"/>
                <a:gd name="T29" fmla="*/ 0 h 92"/>
                <a:gd name="T30" fmla="*/ 2147483647 w 195"/>
                <a:gd name="T31" fmla="*/ 2147483647 h 92"/>
                <a:gd name="T32" fmla="*/ 2147483647 w 195"/>
                <a:gd name="T33" fmla="*/ 2147483647 h 92"/>
                <a:gd name="T34" fmla="*/ 2147483647 w 195"/>
                <a:gd name="T35" fmla="*/ 2147483647 h 92"/>
                <a:gd name="T36" fmla="*/ 2147483647 w 195"/>
                <a:gd name="T37" fmla="*/ 2147483647 h 92"/>
                <a:gd name="T38" fmla="*/ 2147483647 w 195"/>
                <a:gd name="T39" fmla="*/ 2147483647 h 92"/>
                <a:gd name="T40" fmla="*/ 2147483647 w 195"/>
                <a:gd name="T41" fmla="*/ 2147483647 h 92"/>
                <a:gd name="T42" fmla="*/ 0 w 195"/>
                <a:gd name="T43" fmla="*/ 2147483647 h 92"/>
                <a:gd name="T44" fmla="*/ 0 w 195"/>
                <a:gd name="T45" fmla="*/ 0 h 92"/>
                <a:gd name="T46" fmla="*/ 2147483647 w 195"/>
                <a:gd name="T47" fmla="*/ 0 h 92"/>
                <a:gd name="T48" fmla="*/ 2147483647 w 195"/>
                <a:gd name="T49" fmla="*/ 2147483647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5" h="92">
                  <a:moveTo>
                    <a:pt x="195" y="92"/>
                  </a:moveTo>
                  <a:lnTo>
                    <a:pt x="178" y="92"/>
                  </a:lnTo>
                  <a:lnTo>
                    <a:pt x="178" y="16"/>
                  </a:lnTo>
                  <a:lnTo>
                    <a:pt x="147" y="92"/>
                  </a:lnTo>
                  <a:lnTo>
                    <a:pt x="138" y="92"/>
                  </a:lnTo>
                  <a:lnTo>
                    <a:pt x="110" y="16"/>
                  </a:lnTo>
                  <a:lnTo>
                    <a:pt x="107" y="16"/>
                  </a:lnTo>
                  <a:lnTo>
                    <a:pt x="107" y="92"/>
                  </a:lnTo>
                  <a:lnTo>
                    <a:pt x="93" y="92"/>
                  </a:lnTo>
                  <a:lnTo>
                    <a:pt x="93" y="0"/>
                  </a:lnTo>
                  <a:lnTo>
                    <a:pt x="117" y="0"/>
                  </a:lnTo>
                  <a:lnTo>
                    <a:pt x="145" y="71"/>
                  </a:lnTo>
                  <a:lnTo>
                    <a:pt x="171" y="0"/>
                  </a:lnTo>
                  <a:lnTo>
                    <a:pt x="195" y="0"/>
                  </a:lnTo>
                  <a:lnTo>
                    <a:pt x="195" y="92"/>
                  </a:lnTo>
                  <a:close/>
                  <a:moveTo>
                    <a:pt x="74" y="14"/>
                  </a:moveTo>
                  <a:lnTo>
                    <a:pt x="46" y="14"/>
                  </a:lnTo>
                  <a:lnTo>
                    <a:pt x="46" y="92"/>
                  </a:lnTo>
                  <a:lnTo>
                    <a:pt x="31" y="92"/>
                  </a:lnTo>
                  <a:lnTo>
                    <a:pt x="31" y="14"/>
                  </a:lnTo>
                  <a:lnTo>
                    <a:pt x="0" y="14"/>
                  </a:lnTo>
                  <a:lnTo>
                    <a:pt x="0" y="0"/>
                  </a:lnTo>
                  <a:lnTo>
                    <a:pt x="74" y="0"/>
                  </a:lnTo>
                  <a:lnTo>
                    <a:pt x="74" y="1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defTabSz="950336" eaLnBrk="1" hangingPunct="1"/>
              <a:endParaRPr lang="pl-PL" sz="1867">
                <a:solidFill>
                  <a:srgbClr val="000000"/>
                </a:solidFill>
                <a:ea typeface="ＭＳ Ｐゴシック" pitchFamily="34" charset="-128"/>
                <a:cs typeface="+mn-cs"/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2969" y="452968"/>
            <a:ext cx="7776633" cy="4614333"/>
          </a:xfrm>
        </p:spPr>
        <p:txBody>
          <a:bodyPr/>
          <a:lstStyle>
            <a:lvl1pPr>
              <a:lnSpc>
                <a:spcPct val="85000"/>
              </a:lnSpc>
              <a:spcAft>
                <a:spcPts val="4267"/>
              </a:spcAft>
              <a:defRPr sz="7333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2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8678335" y="452968"/>
            <a:ext cx="3069167" cy="4614333"/>
          </a:xfrm>
        </p:spPr>
        <p:txBody>
          <a:bodyPr tIns="109725"/>
          <a:lstStyle>
            <a:lvl1pPr>
              <a:spcAft>
                <a:spcPts val="32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32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</p:txBody>
      </p:sp>
    </p:spTree>
    <p:extLst>
      <p:ext uri="{BB962C8B-B14F-4D97-AF65-F5344CB8AC3E}">
        <p14:creationId xmlns:p14="http://schemas.microsoft.com/office/powerpoint/2010/main" val="2541039178"/>
      </p:ext>
    </p:extLst>
  </p:cSld>
  <p:clrMapOvr>
    <a:masterClrMapping/>
  </p:clrMapOvr>
  <p:transition spd="med">
    <p:fade/>
  </p:transition>
  <p:hf sldNum="0" hdr="0" ft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0" y="452969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0"/>
              </a:spcAft>
              <a:defRPr sz="4000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  <a:lvl2pPr marL="535491" indent="-535491">
              <a:lnSpc>
                <a:spcPct val="85000"/>
              </a:lnSpc>
              <a:spcAft>
                <a:spcPts val="0"/>
              </a:spcAft>
              <a:buFont typeface="+mj-lt"/>
              <a:buAutoNum type="arabicPeriod"/>
              <a:defRPr sz="4000">
                <a:latin typeface="Helvetica 55 Roman" panose="020B06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>
                <a:latin typeface="Helvetica 55 Roman" panose="020B0604020202020204" pitchFamily="34" charset="0"/>
              </a:defRPr>
            </a:lvl3pPr>
            <a:lvl4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>
                <a:latin typeface="Helvetica 55 Roman" panose="020B0604020202020204" pitchFamily="34" charset="0"/>
              </a:defRPr>
            </a:lvl4pPr>
            <a:lvl5pPr marL="0" indent="0">
              <a:lnSpc>
                <a:spcPct val="85000"/>
              </a:lnSpc>
              <a:spcAft>
                <a:spcPts val="1067"/>
              </a:spcAft>
              <a:buFont typeface="+mj-lt"/>
              <a:buNone/>
              <a:defRPr sz="4000">
                <a:latin typeface="Helvetica 55 Roman" panose="020B0604020202020204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864652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0" y="452969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4267"/>
              </a:spcAft>
              <a:defRPr sz="7333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3200"/>
              </a:spcAft>
              <a:defRPr sz="1867">
                <a:latin typeface="Helvetica 75 Bold" panose="020B0804020202020204" pitchFamily="34" charset="0"/>
              </a:defRPr>
            </a:lvl2pPr>
            <a:lvl3pPr marL="0" indent="0">
              <a:lnSpc>
                <a:spcPct val="85000"/>
              </a:lnSpc>
              <a:spcAft>
                <a:spcPts val="1067"/>
              </a:spcAft>
              <a:buNone/>
              <a:defRPr sz="1600"/>
            </a:lvl3pPr>
            <a:lvl4pPr>
              <a:lnSpc>
                <a:spcPct val="85000"/>
              </a:lnSpc>
              <a:spcAft>
                <a:spcPts val="1067"/>
              </a:spcAft>
              <a:defRPr sz="7333"/>
            </a:lvl4pPr>
            <a:lvl5pPr>
              <a:lnSpc>
                <a:spcPct val="85000"/>
              </a:lnSpc>
              <a:spcAft>
                <a:spcPts val="1067"/>
              </a:spcAft>
              <a:defRPr sz="7333"/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</p:txBody>
      </p:sp>
    </p:spTree>
    <p:extLst>
      <p:ext uri="{BB962C8B-B14F-4D97-AF65-F5344CB8AC3E}">
        <p14:creationId xmlns:p14="http://schemas.microsoft.com/office/powerpoint/2010/main" val="1630277882"/>
      </p:ext>
    </p:extLst>
  </p:cSld>
  <p:clrMapOvr>
    <a:masterClrMapping/>
  </p:clrMapOvr>
  <p:transition spd="med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8" y="452969"/>
            <a:ext cx="11294533" cy="537633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pl-PL" dirty="0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0" y="1193802"/>
            <a:ext cx="11294532" cy="47667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 sz="1867" b="1">
                <a:solidFill>
                  <a:srgbClr val="FF6600"/>
                </a:solidFill>
                <a:latin typeface="+mn-lt"/>
              </a:defRPr>
            </a:lvl1pPr>
            <a:lvl2pPr marL="478343" indent="0">
              <a:lnSpc>
                <a:spcPct val="90000"/>
              </a:lnSpc>
              <a:spcAft>
                <a:spcPts val="1067"/>
              </a:spcAft>
              <a:defRPr sz="1867">
                <a:latin typeface="+mn-lt"/>
              </a:defRPr>
            </a:lvl2pPr>
            <a:lvl3pPr marL="702698" indent="-224356">
              <a:lnSpc>
                <a:spcPct val="90000"/>
              </a:lnSpc>
              <a:spcAft>
                <a:spcPts val="1067"/>
              </a:spcAft>
              <a:defRPr sz="1867">
                <a:latin typeface="+mn-lt"/>
              </a:defRPr>
            </a:lvl3pPr>
            <a:lvl4pPr marL="1193741" indent="-237055">
              <a:lnSpc>
                <a:spcPct val="90000"/>
              </a:lnSpc>
              <a:spcAft>
                <a:spcPts val="1067"/>
              </a:spcAft>
              <a:defRPr sz="1867">
                <a:latin typeface="+mn-lt"/>
              </a:defRPr>
            </a:lvl4pPr>
            <a:lvl5pPr marL="1435028" indent="-247638">
              <a:lnSpc>
                <a:spcPct val="90000"/>
              </a:lnSpc>
              <a:spcAft>
                <a:spcPts val="1067"/>
              </a:spcAft>
              <a:defRPr sz="1867">
                <a:latin typeface="+mn-lt"/>
              </a:defRPr>
            </a:lvl5pPr>
          </a:lstStyle>
          <a:p>
            <a:pPr lvl="0"/>
            <a:r>
              <a:rPr lang="en-US" noProof="0" dirty="0" err="1"/>
              <a:t>Kliknij</a:t>
            </a:r>
            <a:r>
              <a:rPr lang="en-US" noProof="0" dirty="0"/>
              <a:t>, aby </a:t>
            </a:r>
            <a:r>
              <a:rPr lang="en-US" noProof="0" dirty="0" err="1"/>
              <a:t>edytować</a:t>
            </a:r>
            <a:r>
              <a:rPr lang="en-US" noProof="0" dirty="0"/>
              <a:t> style </a:t>
            </a:r>
            <a:r>
              <a:rPr lang="en-US" noProof="0" dirty="0" err="1"/>
              <a:t>wzorca</a:t>
            </a:r>
            <a:r>
              <a:rPr lang="en-US" noProof="0" dirty="0"/>
              <a:t> </a:t>
            </a:r>
            <a:r>
              <a:rPr lang="en-US" noProof="0" dirty="0" err="1"/>
              <a:t>tekstu</a:t>
            </a:r>
            <a:endParaRPr lang="en-US" noProof="0" dirty="0"/>
          </a:p>
          <a:p>
            <a:pPr lvl="1"/>
            <a:r>
              <a:rPr lang="en-US" noProof="0" dirty="0" err="1"/>
              <a:t>Drugi</a:t>
            </a:r>
            <a:r>
              <a:rPr lang="en-US" noProof="0" dirty="0"/>
              <a:t> </a:t>
            </a:r>
            <a:r>
              <a:rPr lang="en-US" noProof="0" dirty="0" err="1"/>
              <a:t>poziom</a:t>
            </a:r>
            <a:endParaRPr lang="en-US" noProof="0" dirty="0"/>
          </a:p>
          <a:p>
            <a:pPr lvl="2"/>
            <a:r>
              <a:rPr lang="en-US" noProof="0" dirty="0" err="1"/>
              <a:t>Trzeci</a:t>
            </a:r>
            <a:r>
              <a:rPr lang="en-US" noProof="0" dirty="0"/>
              <a:t> </a:t>
            </a:r>
            <a:r>
              <a:rPr lang="en-US" noProof="0" dirty="0" err="1"/>
              <a:t>poziom</a:t>
            </a:r>
            <a:endParaRPr lang="en-US" noProof="0" dirty="0"/>
          </a:p>
          <a:p>
            <a:pPr lvl="3"/>
            <a:r>
              <a:rPr lang="en-US" noProof="0" dirty="0" err="1"/>
              <a:t>Czwarty</a:t>
            </a:r>
            <a:r>
              <a:rPr lang="en-US" noProof="0" dirty="0"/>
              <a:t> </a:t>
            </a:r>
            <a:r>
              <a:rPr lang="en-US" noProof="0" dirty="0" err="1"/>
              <a:t>poziom</a:t>
            </a:r>
            <a:endParaRPr lang="en-US" noProof="0" dirty="0"/>
          </a:p>
          <a:p>
            <a:pPr lvl="4"/>
            <a:r>
              <a:rPr lang="en-US" noProof="0" dirty="0" err="1"/>
              <a:t>Piąty</a:t>
            </a:r>
            <a:r>
              <a:rPr lang="en-US" noProof="0" dirty="0"/>
              <a:t> </a:t>
            </a:r>
            <a:r>
              <a:rPr lang="en-US" noProof="0" dirty="0" err="1"/>
              <a:t>poziom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81681127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968" y="452967"/>
            <a:ext cx="11294533" cy="83185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68" y="1739900"/>
            <a:ext cx="5420785" cy="42206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>
                <a:solidFill>
                  <a:srgbClr val="FF6600"/>
                </a:solidFill>
                <a:latin typeface="Helvetica 55 Roman" panose="020B06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6318253" y="1739900"/>
            <a:ext cx="5420785" cy="4220632"/>
          </a:xfrm>
        </p:spPr>
        <p:txBody>
          <a:bodyPr/>
          <a:lstStyle>
            <a:lvl1pPr>
              <a:lnSpc>
                <a:spcPct val="90000"/>
              </a:lnSpc>
              <a:spcAft>
                <a:spcPts val="1067"/>
              </a:spcAft>
              <a:defRPr>
                <a:solidFill>
                  <a:srgbClr val="FF6600"/>
                </a:solidFill>
                <a:latin typeface="Helvetica 55 Roman" panose="020B06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>
                <a:latin typeface="Helvetica 55 Roman" panose="020B0604020202020204" pitchFamily="34" charset="0"/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531389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0" y="1739902"/>
            <a:ext cx="11294532" cy="4220633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000">
                <a:solidFill>
                  <a:schemeClr val="tx1"/>
                </a:solidFill>
                <a:latin typeface="Helvetica 55 Roman" panose="020B06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5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52968" y="452967"/>
            <a:ext cx="11294533" cy="831852"/>
          </a:xfrm>
        </p:spPr>
        <p:txBody>
          <a:bodyPr/>
          <a:lstStyle>
            <a:lvl1pPr>
              <a:lnSpc>
                <a:spcPct val="90000"/>
              </a:lnSpc>
              <a:spcAft>
                <a:spcPts val="0"/>
              </a:spcAft>
              <a:defRPr sz="2667"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659525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970" y="452969"/>
            <a:ext cx="11294532" cy="5507567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40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2pPr>
            <a:lvl3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3pPr>
            <a:lvl4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4pPr>
            <a:lvl5pPr>
              <a:lnSpc>
                <a:spcPct val="90000"/>
              </a:lnSpc>
              <a:spcAft>
                <a:spcPts val="1067"/>
              </a:spcAft>
              <a:defRPr sz="1867">
                <a:solidFill>
                  <a:schemeClr val="tx1"/>
                </a:solidFill>
                <a:latin typeface="Helvetica 55 Roman" panose="020B0604020202020204" pitchFamily="34" charset="0"/>
              </a:defRPr>
            </a:lvl5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6842487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spcAft>
                <a:spcPts val="0"/>
              </a:spcAft>
              <a:defRPr>
                <a:solidFill>
                  <a:srgbClr val="FF6600"/>
                </a:solidFill>
                <a:latin typeface="Helvetica 75 Bold" panose="020B0804020202020204" pitchFamily="34" charset="0"/>
              </a:defRPr>
            </a:lvl1pPr>
          </a:lstStyle>
          <a:p>
            <a:r>
              <a:rPr lang="pl-PL"/>
              <a:t>Kliknij, aby edytować sty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0368396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7601" y="1578264"/>
            <a:ext cx="5290740" cy="4488103"/>
          </a:xfrm>
        </p:spPr>
        <p:txBody>
          <a:bodyPr>
            <a:normAutofit/>
          </a:bodyPr>
          <a:lstStyle>
            <a:lvl1pPr>
              <a:defRPr sz="1867" baseline="0"/>
            </a:lvl1pPr>
            <a:lvl2pPr>
              <a:defRPr sz="1867" baseline="0">
                <a:solidFill>
                  <a:schemeClr val="tx1"/>
                </a:solidFill>
              </a:defRPr>
            </a:lvl2pPr>
            <a:lvl3pPr>
              <a:defRPr sz="1867" baseline="0">
                <a:solidFill>
                  <a:schemeClr val="tx1"/>
                </a:solidFill>
              </a:defRPr>
            </a:lvl3pPr>
            <a:lvl4pPr>
              <a:defRPr sz="1867" baseline="0">
                <a:solidFill>
                  <a:schemeClr val="tx1"/>
                </a:solidFill>
              </a:defRPr>
            </a:lvl4pPr>
            <a:lvl5pPr>
              <a:defRPr sz="1867" baseline="0">
                <a:solidFill>
                  <a:schemeClr val="tx1"/>
                </a:solidFill>
              </a:defRPr>
            </a:lvl5pPr>
            <a:lvl6pPr>
              <a:defRPr sz="1867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pl-PL" noProof="0" dirty="0"/>
              <a:t>Kliknij, aby edytować tekst</a:t>
            </a:r>
          </a:p>
          <a:p>
            <a:pPr lvl="1"/>
            <a:r>
              <a:rPr lang="pl-PL" noProof="0" dirty="0"/>
              <a:t>Drugi poziom</a:t>
            </a:r>
          </a:p>
          <a:p>
            <a:pPr lvl="2"/>
            <a:r>
              <a:rPr lang="pl-PL" noProof="0" dirty="0"/>
              <a:t>Trzeci poziom</a:t>
            </a:r>
          </a:p>
          <a:p>
            <a:pPr lvl="3"/>
            <a:r>
              <a:rPr lang="pl-PL" noProof="0" dirty="0"/>
              <a:t>Czwarty poziom</a:t>
            </a:r>
          </a:p>
          <a:p>
            <a:pPr lvl="4"/>
            <a:r>
              <a:rPr lang="pl-PL" noProof="0" dirty="0"/>
              <a:t>Piąty poziom</a:t>
            </a:r>
          </a:p>
          <a:p>
            <a:pPr lvl="5"/>
            <a:r>
              <a:rPr lang="pl-PL" noProof="0" dirty="0"/>
              <a:t>Szósty poziom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6393" y="1578264"/>
            <a:ext cx="5286507" cy="4488103"/>
          </a:xfrm>
        </p:spPr>
        <p:txBody>
          <a:bodyPr>
            <a:normAutofit/>
          </a:bodyPr>
          <a:lstStyle>
            <a:lvl1pPr>
              <a:defRPr sz="1867"/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867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  <a:lvl6pPr>
              <a:defRPr sz="1867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pl-PL" noProof="0" dirty="0"/>
              <a:t>Kliknij, aby edytować tekst</a:t>
            </a:r>
          </a:p>
          <a:p>
            <a:pPr lvl="1"/>
            <a:r>
              <a:rPr lang="pl-PL" noProof="0" dirty="0"/>
              <a:t>Drugi poziom</a:t>
            </a:r>
          </a:p>
          <a:p>
            <a:pPr lvl="2"/>
            <a:r>
              <a:rPr lang="pl-PL" noProof="0" dirty="0"/>
              <a:t>Trzeci poziom</a:t>
            </a:r>
          </a:p>
          <a:p>
            <a:pPr lvl="3"/>
            <a:r>
              <a:rPr lang="pl-PL" noProof="0" dirty="0"/>
              <a:t>Czwarty poziom</a:t>
            </a:r>
          </a:p>
          <a:p>
            <a:pPr lvl="4"/>
            <a:r>
              <a:rPr lang="pl-PL" noProof="0" dirty="0"/>
              <a:t>Piąty poziom</a:t>
            </a:r>
          </a:p>
          <a:p>
            <a:pPr lvl="5"/>
            <a:r>
              <a:rPr lang="pl-PL" noProof="0" dirty="0"/>
              <a:t>Szósty poziom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 noProof="0" dirty="0"/>
              <a:t>Kliknij, aby edytować tytuł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3305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2909878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94EEE610-1FE6-D1C7-50CB-D026E4B7515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  <a:endParaRPr lang="en-US"/>
          </a:p>
        </p:txBody>
      </p:sp>
      <p:sp>
        <p:nvSpPr>
          <p:cNvPr id="3" name="Podtytuł 2">
            <a:extLst>
              <a:ext uri="{FF2B5EF4-FFF2-40B4-BE49-F238E27FC236}">
                <a16:creationId xmlns:a16="http://schemas.microsoft.com/office/drawing/2014/main" id="{2BCA5E27-5531-3CBB-5625-C9D14C39CE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l-PL"/>
              <a:t>Kliknij, aby edytować styl wzorca podtytułu</a:t>
            </a:r>
            <a:endParaRPr lang="en-US"/>
          </a:p>
        </p:txBody>
      </p:sp>
      <p:sp>
        <p:nvSpPr>
          <p:cNvPr id="4" name="Symbol zastępczy daty 3">
            <a:extLst>
              <a:ext uri="{FF2B5EF4-FFF2-40B4-BE49-F238E27FC236}">
                <a16:creationId xmlns:a16="http://schemas.microsoft.com/office/drawing/2014/main" id="{B6595721-33B6-6449-09AE-04407C5C8C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BAD84F-52A2-4AA9-835C-99589A5217B1}" type="datetimeFigureOut">
              <a:rPr lang="en-US" smtClean="0"/>
              <a:t>9/11/2024</a:t>
            </a:fld>
            <a:endParaRPr lang="en-US"/>
          </a:p>
        </p:txBody>
      </p:sp>
      <p:sp>
        <p:nvSpPr>
          <p:cNvPr id="5" name="Symbol zastępczy stopki 4">
            <a:extLst>
              <a:ext uri="{FF2B5EF4-FFF2-40B4-BE49-F238E27FC236}">
                <a16:creationId xmlns:a16="http://schemas.microsoft.com/office/drawing/2014/main" id="{576EBC46-94E3-D2BC-2529-0F0A3B05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ymbol zastępczy numeru slajdu 5">
            <a:extLst>
              <a:ext uri="{FF2B5EF4-FFF2-40B4-BE49-F238E27FC236}">
                <a16:creationId xmlns:a16="http://schemas.microsoft.com/office/drawing/2014/main" id="{3DD5A58C-8D8A-3A76-71E1-51757A23B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164B21-FAFC-447E-B1FA-60EFBC3CDB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060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pl-PL" noProof="0" dirty="0"/>
              <a:t>Kliknij, aby edytować tytuł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2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iki multimedialne wypełniające całą zawartość strony lub slajd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pl-PL" noProof="0" dirty="0"/>
              <a:t>Kliknij ikonę, aby dodać zdjęci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9100" y="357717"/>
            <a:ext cx="11353800" cy="988483"/>
          </a:xfrm>
        </p:spPr>
        <p:txBody>
          <a:bodyPr/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r>
              <a:rPr lang="pl-PL" noProof="0" dirty="0"/>
              <a:t>Kliknij, aby edytować tytuł</a:t>
            </a:r>
          </a:p>
        </p:txBody>
      </p:sp>
    </p:spTree>
    <p:extLst>
      <p:ext uri="{BB962C8B-B14F-4D97-AF65-F5344CB8AC3E}">
        <p14:creationId xmlns:p14="http://schemas.microsoft.com/office/powerpoint/2010/main" val="2638482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2504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9101" y="1574801"/>
            <a:ext cx="11353800" cy="449368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6" name="TextBox 5"/>
          <p:cNvSpPr txBox="1"/>
          <p:nvPr userDrawn="1"/>
        </p:nvSpPr>
        <p:spPr>
          <a:xfrm>
            <a:off x="826064" y="6332198"/>
            <a:ext cx="787075" cy="16421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kumimoji="0" lang="en-GB" sz="1067" b="0" i="0" u="none" strike="noStrike" kern="1200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onfidential</a:t>
            </a:r>
          </a:p>
        </p:txBody>
      </p:sp>
      <p:sp>
        <p:nvSpPr>
          <p:cNvPr id="7" name="Text Placeholder 10"/>
          <p:cNvSpPr txBox="1">
            <a:spLocks/>
          </p:cNvSpPr>
          <p:nvPr userDrawn="1"/>
        </p:nvSpPr>
        <p:spPr>
          <a:xfrm>
            <a:off x="419100" y="6047317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1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en-GB" sz="1067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1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en-GB" sz="1067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973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17.emf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9100" y="357717"/>
            <a:ext cx="11353800" cy="9884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pl-PL" noProof="0" dirty="0"/>
              <a:t>Kliknij, aby edytować tytuł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601" y="1579034"/>
            <a:ext cx="11355300" cy="44873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 noProof="0" dirty="0"/>
              <a:t>Kliknij, aby edytować tekst</a:t>
            </a:r>
          </a:p>
          <a:p>
            <a:pPr lvl="1"/>
            <a:r>
              <a:rPr lang="pl-PL" noProof="0" dirty="0"/>
              <a:t>Drugi poziom</a:t>
            </a:r>
          </a:p>
          <a:p>
            <a:pPr lvl="2"/>
            <a:r>
              <a:rPr lang="pl-PL" noProof="0" dirty="0"/>
              <a:t>Trzeci poziom</a:t>
            </a:r>
          </a:p>
          <a:p>
            <a:pPr lvl="3"/>
            <a:r>
              <a:rPr lang="pl-PL" noProof="0" dirty="0"/>
              <a:t>Czwarty poziom</a:t>
            </a:r>
          </a:p>
          <a:p>
            <a:pPr lvl="4"/>
            <a:r>
              <a:rPr lang="pl-PL" noProof="0" dirty="0"/>
              <a:t>Piąty poziom</a:t>
            </a:r>
          </a:p>
          <a:p>
            <a:pPr lvl="5"/>
            <a:r>
              <a:rPr lang="pl-PL" noProof="0" dirty="0"/>
              <a:t>Szósty poziom</a:t>
            </a:r>
          </a:p>
        </p:txBody>
      </p:sp>
      <p:sp>
        <p:nvSpPr>
          <p:cNvPr id="9" name="Text Placeholder 10"/>
          <p:cNvSpPr txBox="1">
            <a:spLocks/>
          </p:cNvSpPr>
          <p:nvPr/>
        </p:nvSpPr>
        <p:spPr>
          <a:xfrm>
            <a:off x="419100" y="6047314"/>
            <a:ext cx="366680" cy="446615"/>
          </a:xfrm>
          <a:prstGeom prst="rect">
            <a:avLst/>
          </a:prstGeom>
        </p:spPr>
        <p:txBody>
          <a:bodyPr wrap="square" lIns="9600" tIns="0" rIns="0" bIns="0" anchor="b">
            <a:normAutofit/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chemeClr val="tx1"/>
              </a:buClr>
              <a:buSzTx/>
              <a:buFont typeface="Helvetica 75" panose="020B0804020202020204" pitchFamily="34" charset="0"/>
              <a:buNone/>
              <a:tabLst/>
              <a:defRPr lang="fr-FR" sz="1200" kern="1200" baseline="0" dirty="0" smtClean="0">
                <a:solidFill>
                  <a:schemeClr val="tx1">
                    <a:lumMod val="50000"/>
                  </a:schemeClr>
                </a:solidFill>
                <a:latin typeface="Helvetica 75" panose="020B0804020202020204" pitchFamily="34" charset="0"/>
                <a:ea typeface="+mn-ea"/>
                <a:cs typeface="+mn-cs"/>
              </a:defRPr>
            </a:lvl1pPr>
            <a:lvl2pPr marL="688975" indent="-231775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2pPr>
            <a:lvl3pPr marL="12446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baseline="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3pPr>
            <a:lvl4pPr marL="1663700" indent="-28575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 smtClean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4pPr>
            <a:lvl5pPr marL="2251075" indent="-596900" algn="l" defTabSz="914400" rtl="0" eaLnBrk="1" fontAlgn="base" latinLnBrk="0" hangingPunct="1">
              <a:spcBef>
                <a:spcPct val="0"/>
              </a:spcBef>
              <a:spcAft>
                <a:spcPts val="600"/>
              </a:spcAft>
              <a:buFont typeface="Helvetica 45 Light" pitchFamily="34" charset="0"/>
              <a:buChar char="–"/>
              <a:defRPr lang="fr-FR" sz="2000" kern="1200" dirty="0">
                <a:solidFill>
                  <a:schemeClr val="tx1"/>
                </a:solidFill>
                <a:latin typeface="Helvetica 75" panose="020B08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ts val="1600"/>
              </a:spcAft>
              <a:buClr>
                <a:srgbClr val="FFFFFF"/>
              </a:buClr>
              <a:buSzTx/>
              <a:buFont typeface="Helvetica 75" panose="020B0804020202020204" pitchFamily="34" charset="0"/>
              <a:buNone/>
              <a:tabLst/>
              <a:defRPr/>
            </a:pPr>
            <a:fld id="{8702007A-2642-4DC4-A457-FD791426C840}" type="slidenum">
              <a:rPr kumimoji="0" lang="pl-PL" sz="1067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pPr marL="0" marR="0" lvl="0" indent="0" algn="l" defTabSz="1219170" rtl="0" eaLnBrk="1" fontAlgn="base" latinLnBrk="0" hangingPunct="1">
                <a:lnSpc>
                  <a:spcPct val="85000"/>
                </a:lnSpc>
                <a:spcBef>
                  <a:spcPct val="0"/>
                </a:spcBef>
                <a:spcAft>
                  <a:spcPts val="1600"/>
                </a:spcAft>
                <a:buClr>
                  <a:srgbClr val="FFFFFF"/>
                </a:buClr>
                <a:buSzTx/>
                <a:buFont typeface="Helvetica 75" panose="020B0804020202020204" pitchFamily="34" charset="0"/>
                <a:buNone/>
                <a:tabLst/>
                <a:defRPr/>
              </a:pPr>
              <a:t>‹#›</a:t>
            </a:fld>
            <a:endParaRPr kumimoji="0" lang="pl-PL" sz="1067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8272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1219170" rtl="0" eaLnBrk="1" latinLnBrk="0" hangingPunct="1">
        <a:lnSpc>
          <a:spcPct val="90000"/>
        </a:lnSpc>
        <a:spcBef>
          <a:spcPct val="0"/>
        </a:spcBef>
        <a:buNone/>
        <a:defRPr sz="2667" kern="1200" spc="-27" baseline="0">
          <a:solidFill>
            <a:schemeClr val="bg2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67" kern="1200" spc="-27" baseline="0">
          <a:solidFill>
            <a:schemeClr val="bg2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121917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defRPr sz="1867" kern="1200" spc="-27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2pPr>
      <a:lvl3pPr marL="241294" indent="-241294" algn="l" defTabSz="1219170" rtl="0" eaLnBrk="1" latinLnBrk="0" hangingPunct="1">
        <a:lnSpc>
          <a:spcPct val="90000"/>
        </a:lnSpc>
        <a:spcBef>
          <a:spcPts val="800"/>
        </a:spcBef>
        <a:buClr>
          <a:schemeClr val="bg2"/>
        </a:buClr>
        <a:buFont typeface="Wingdings" panose="05000000000000000000" pitchFamily="2" charset="2"/>
        <a:buChar char="§"/>
        <a:defRPr sz="1867" kern="1200" spc="-27" baseline="0">
          <a:solidFill>
            <a:schemeClr val="tx1"/>
          </a:solidFill>
          <a:latin typeface="Helvetica 75 Bold" panose="020B0804020202020204" pitchFamily="34" charset="0"/>
          <a:ea typeface="+mn-ea"/>
          <a:cs typeface="+mn-cs"/>
        </a:defRPr>
      </a:lvl3pPr>
      <a:lvl4pPr marL="543970" indent="-253994" algn="l" defTabSz="121917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67" kern="1200" spc="-27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4pPr>
      <a:lvl5pPr marL="793731" indent="-230712" algn="l" defTabSz="1219170" rtl="0" eaLnBrk="1" latinLnBrk="0" hangingPunct="1">
        <a:lnSpc>
          <a:spcPct val="90000"/>
        </a:lnSpc>
        <a:spcBef>
          <a:spcPct val="20000"/>
        </a:spcBef>
        <a:buClr>
          <a:schemeClr val="tx1"/>
        </a:buClr>
        <a:buFont typeface="Arial" panose="020B0604020202020204" pitchFamily="34" charset="0"/>
        <a:buChar char="–"/>
        <a:defRPr sz="1867" kern="1200" spc="-27" baseline="0">
          <a:solidFill>
            <a:schemeClr val="tx1"/>
          </a:solidFill>
          <a:latin typeface="Helvetica 55 Roman" panose="000B0500000000000000" pitchFamily="34" charset="0"/>
          <a:ea typeface="+mn-ea"/>
          <a:cs typeface="+mn-cs"/>
        </a:defRPr>
      </a:lvl5pPr>
      <a:lvl6pPr marL="1066773" indent="-253994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Helvetica 55 Roman" panose="020B0604020202020204" pitchFamily="34" charset="0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7603" y="357717"/>
            <a:ext cx="11355300" cy="9884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tit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7603" y="1574803"/>
            <a:ext cx="11355300" cy="44936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GB"/>
              <a:t>Sixth level</a:t>
            </a:r>
          </a:p>
        </p:txBody>
      </p:sp>
      <p:sp>
        <p:nvSpPr>
          <p:cNvPr id="4" name="MSIPCMContentMarking" descr="{&quot;HashCode&quot;:-383893320,&quot;Placement&quot;:&quot;Footer&quot;,&quot;Top&quot;:519.343,&quot;Left&quot;:431.9575,&quot;SlideWidth&quot;:960,&quot;SlideHeight&quot;:540}">
            <a:extLst>
              <a:ext uri="{FF2B5EF4-FFF2-40B4-BE49-F238E27FC236}">
                <a16:creationId xmlns:a16="http://schemas.microsoft.com/office/drawing/2014/main" id="{088AE625-4756-6DFA-0D0E-5858D1ADE1F6}"/>
              </a:ext>
            </a:extLst>
          </p:cNvPr>
          <p:cNvSpPr txBox="1"/>
          <p:nvPr userDrawn="1"/>
        </p:nvSpPr>
        <p:spPr>
          <a:xfrm>
            <a:off x="5485861" y="6649885"/>
            <a:ext cx="1220281" cy="153888"/>
          </a:xfrm>
          <a:prstGeom prst="rect">
            <a:avLst/>
          </a:prstGeom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nl-BE" sz="1000">
                <a:solidFill>
                  <a:srgbClr val="000000"/>
                </a:solidFill>
                <a:latin typeface="Calibri" panose="020F0502020204030204" pitchFamily="34" charset="0"/>
              </a:rPr>
              <a:t>Orange Restricted</a:t>
            </a:r>
            <a:endParaRPr lang="nl-BE" sz="1000" dirty="0" err="1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582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marL="0" indent="0" algn="l" defTabSz="1219110" rtl="0" eaLnBrk="1" latinLnBrk="0" hangingPunct="1">
        <a:lnSpc>
          <a:spcPct val="90000"/>
        </a:lnSpc>
        <a:spcBef>
          <a:spcPct val="0"/>
        </a:spcBef>
        <a:buNone/>
        <a:defRPr sz="2667" kern="1200" spc="-27" baseline="0">
          <a:solidFill>
            <a:schemeClr val="accent1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0" indent="0" algn="l" defTabSz="121911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tabLst/>
        <a:defRPr sz="1867" kern="1200" spc="-27" baseline="0">
          <a:solidFill>
            <a:schemeClr val="accent1"/>
          </a:solidFill>
          <a:latin typeface="Helvetica 75 Bold" panose="020B0804020202020204" pitchFamily="34" charset="0"/>
          <a:ea typeface="+mn-ea"/>
          <a:cs typeface="+mn-cs"/>
        </a:defRPr>
      </a:lvl1pPr>
      <a:lvl2pPr marL="0" indent="0" algn="l" defTabSz="1219110" rtl="0" eaLnBrk="1" latinLnBrk="0" hangingPunct="1">
        <a:lnSpc>
          <a:spcPct val="90000"/>
        </a:lnSpc>
        <a:spcBef>
          <a:spcPts val="800"/>
        </a:spcBef>
        <a:buClr>
          <a:schemeClr val="bg1"/>
        </a:buClr>
        <a:buSzPct val="25000"/>
        <a:buFont typeface="Calibri" panose="020F0502020204030204" pitchFamily="34" charset="0"/>
        <a:buNone/>
        <a:defRPr sz="1867" kern="1200" spc="-27" baseline="0">
          <a:solidFill>
            <a:schemeClr val="bg1"/>
          </a:solidFill>
          <a:latin typeface="Helvetica 75 Bold" panose="020B0804020202020204" pitchFamily="34" charset="0"/>
          <a:ea typeface="+mn-ea"/>
          <a:cs typeface="+mn-cs"/>
        </a:defRPr>
      </a:lvl2pPr>
      <a:lvl3pPr marL="241283" indent="-241283" algn="l" defTabSz="1219110" rtl="0" eaLnBrk="1" latinLnBrk="0" hangingPunct="1">
        <a:lnSpc>
          <a:spcPct val="90000"/>
        </a:lnSpc>
        <a:spcBef>
          <a:spcPts val="800"/>
        </a:spcBef>
        <a:buClr>
          <a:schemeClr val="accent1"/>
        </a:buClr>
        <a:buFont typeface="Wingdings" panose="05000000000000000000" pitchFamily="2" charset="2"/>
        <a:buChar char="§"/>
        <a:defRPr sz="1867" kern="1200" spc="-27" baseline="0">
          <a:solidFill>
            <a:schemeClr val="bg1"/>
          </a:solidFill>
          <a:latin typeface="Helvetica 75 Bold" panose="020B0804020202020204" pitchFamily="34" charset="0"/>
          <a:ea typeface="+mn-ea"/>
          <a:cs typeface="+mn-cs"/>
        </a:defRPr>
      </a:lvl3pPr>
      <a:lvl4pPr marL="543944" indent="-253982" algn="l" defTabSz="1219110" rtl="0" eaLnBrk="1" latinLnBrk="0" hangingPunct="1">
        <a:lnSpc>
          <a:spcPct val="90000"/>
        </a:lnSpc>
        <a:spcBef>
          <a:spcPct val="20000"/>
        </a:spcBef>
        <a:buFont typeface="Arial" panose="020B0604020202020204" pitchFamily="34" charset="0"/>
        <a:buChar char="–"/>
        <a:defRPr sz="1867" kern="1200" spc="-27" baseline="0">
          <a:solidFill>
            <a:schemeClr val="bg1"/>
          </a:solidFill>
          <a:latin typeface="Helvetica 55 Roman" panose="000B0500000000000000" pitchFamily="34" charset="0"/>
          <a:ea typeface="+mn-ea"/>
          <a:cs typeface="+mn-cs"/>
        </a:defRPr>
      </a:lvl4pPr>
      <a:lvl5pPr marL="793691" indent="-230701" algn="l" defTabSz="1219110" rtl="0" eaLnBrk="1" latinLnBrk="0" hangingPunct="1">
        <a:lnSpc>
          <a:spcPct val="90000"/>
        </a:lnSpc>
        <a:spcBef>
          <a:spcPct val="20000"/>
        </a:spcBef>
        <a:buClr>
          <a:schemeClr val="bg1"/>
        </a:buClr>
        <a:buFont typeface="Arial" panose="020B0604020202020204" pitchFamily="34" charset="0"/>
        <a:buChar char="–"/>
        <a:defRPr sz="1867" kern="1200" spc="-27" baseline="0">
          <a:solidFill>
            <a:schemeClr val="bg1"/>
          </a:solidFill>
          <a:latin typeface="Helvetica 55 Roman" panose="000B0500000000000000" pitchFamily="34" charset="0"/>
          <a:ea typeface="+mn-ea"/>
          <a:cs typeface="+mn-cs"/>
        </a:defRPr>
      </a:lvl5pPr>
      <a:lvl6pPr marL="1066720" indent="-253982" algn="l" defTabSz="121911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/>
          </a:solidFill>
          <a:latin typeface="Helvetica 55 Roman" panose="020B0604020202020204" pitchFamily="34" charset="0"/>
          <a:ea typeface="+mn-ea"/>
          <a:cs typeface="+mn-cs"/>
        </a:defRPr>
      </a:lvl6pPr>
      <a:lvl7pPr marL="3962104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ować sty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Edytuj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9/11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274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4" r:id="rId12"/>
    <p:sldLayoutId id="2147483649" r:id="rId13"/>
    <p:sldLayoutId id="2147483653" r:id="rId14"/>
    <p:sldLayoutId id="2147483652" r:id="rId15"/>
    <p:sldLayoutId id="2147483654" r:id="rId16"/>
    <p:sldLayoutId id="2147483656" r:id="rId17"/>
    <p:sldLayoutId id="2147483657" r:id="rId1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/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1" imgH="420" progId="TCLayout.ActiveDocument.1">
                  <p:embed/>
                </p:oleObj>
              </mc:Choice>
              <mc:Fallback>
                <p:oleObj name="think-cell Slide" r:id="rId14" imgW="421" imgH="420" progId="TCLayout.ActiveDocument.1">
                  <p:embed/>
                  <p:pic>
                    <p:nvPicPr>
                      <p:cNvPr id="3" name="Obiekt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rostokąt 1" hidden="1"/>
          <p:cNvSpPr/>
          <p:nvPr userDrawn="1">
            <p:custDataLst>
              <p:tags r:id="rId1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0"/>
            <a:endParaRPr lang="pl-PL" sz="2667" b="0" i="0" baseline="0" dirty="0">
              <a:latin typeface="Helvetica 75 Bold"/>
              <a:ea typeface="ＭＳ Ｐゴシック"/>
              <a:cs typeface="+mj-cs"/>
              <a:sym typeface="Helvetica 75 Bold"/>
            </a:endParaRPr>
          </a:p>
        </p:txBody>
      </p:sp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2968" y="452969"/>
            <a:ext cx="11294533" cy="827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/>
              <a:t>Kliknij, aby edytować styl</a:t>
            </a:r>
            <a:endParaRPr lang="en-GB" alt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48735" y="1739900"/>
            <a:ext cx="11298767" cy="421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/>
              <a:t>Kliknij, aby edytować style wzorca tekstu</a:t>
            </a:r>
          </a:p>
          <a:p>
            <a:pPr lvl="1"/>
            <a:r>
              <a:rPr lang="pl-PL" altLang="en-US"/>
              <a:t>Drugi poziom</a:t>
            </a:r>
          </a:p>
          <a:p>
            <a:pPr lvl="2"/>
            <a:r>
              <a:rPr lang="pl-PL" altLang="en-US"/>
              <a:t>Trzeci poziom</a:t>
            </a:r>
          </a:p>
          <a:p>
            <a:pPr lvl="3"/>
            <a:r>
              <a:rPr lang="pl-PL" altLang="en-US"/>
              <a:t>Czwarty poziom</a:t>
            </a:r>
          </a:p>
          <a:p>
            <a:pPr lvl="4"/>
            <a:r>
              <a:rPr lang="pl-PL" altLang="en-US"/>
              <a:t>Piąty poziom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8176555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</p:sldLayoutIdLst>
  <p:transition spd="med">
    <p:fade/>
  </p:transition>
  <p:hf hdr="0"/>
  <p:txStyles>
    <p:titleStyle>
      <a:lvl1pPr algn="l" defTabSz="68576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kern="1200">
          <a:solidFill>
            <a:srgbClr val="FF6600"/>
          </a:solidFill>
          <a:latin typeface="Helvetica 75 Bold" panose="020B0804020202020204" pitchFamily="34" charset="0"/>
          <a:ea typeface="ＭＳ Ｐゴシック" pitchFamily="34" charset="-128"/>
          <a:cs typeface="+mj-cs"/>
        </a:defRPr>
      </a:lvl1pPr>
      <a:lvl2pPr algn="l" defTabSz="68576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2pPr>
      <a:lvl3pPr algn="l" defTabSz="68576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3pPr>
      <a:lvl4pPr algn="l" defTabSz="68576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4pPr>
      <a:lvl5pPr algn="l" defTabSz="685766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>
          <a:solidFill>
            <a:srgbClr val="FF6600"/>
          </a:solidFill>
          <a:latin typeface="Helvetica 75 Bold" pitchFamily="34" charset="0"/>
          <a:ea typeface="ＭＳ Ｐゴシック" pitchFamily="34" charset="-128"/>
        </a:defRPr>
      </a:lvl5pPr>
      <a:lvl6pPr marL="609570" algn="l" defTabSz="685766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6pPr>
      <a:lvl7pPr marL="1219140" algn="l" defTabSz="685766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7pPr>
      <a:lvl8pPr marL="1828709" algn="l" defTabSz="685766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8pPr>
      <a:lvl9pPr marL="2438278" algn="l" defTabSz="685766" rtl="0" eaLnBrk="1" fontAlgn="base" hangingPunct="1">
        <a:lnSpc>
          <a:spcPct val="90000"/>
        </a:lnSpc>
        <a:spcBef>
          <a:spcPct val="0"/>
        </a:spcBef>
        <a:spcAft>
          <a:spcPts val="1600"/>
        </a:spcAft>
        <a:defRPr sz="2133">
          <a:solidFill>
            <a:schemeClr val="tx2"/>
          </a:solidFill>
          <a:latin typeface="Helvetica 75" pitchFamily="34" charset="0"/>
          <a:ea typeface="ＭＳ Ｐゴシック" pitchFamily="34" charset="-128"/>
        </a:defRPr>
      </a:lvl9pPr>
    </p:titleStyle>
    <p:bodyStyle>
      <a:lvl1pPr algn="l" defTabSz="685766" rtl="0" eaLnBrk="0" fontAlgn="base" hangingPunct="0">
        <a:lnSpc>
          <a:spcPct val="90000"/>
        </a:lnSpc>
        <a:spcBef>
          <a:spcPct val="0"/>
        </a:spcBef>
        <a:spcAft>
          <a:spcPts val="1067"/>
        </a:spcAft>
        <a:buFont typeface="Arial" charset="0"/>
        <a:defRPr sz="1867" kern="1200">
          <a:solidFill>
            <a:srgbClr val="FF6600"/>
          </a:solidFill>
          <a:latin typeface="Helvetica 55 Roman" panose="020B0604020202020204" pitchFamily="34" charset="0"/>
          <a:ea typeface="ＭＳ Ｐゴシック" pitchFamily="34" charset="-128"/>
          <a:cs typeface="+mn-cs"/>
        </a:defRPr>
      </a:lvl1pPr>
      <a:lvl2pPr algn="l" defTabSz="685766" rtl="0" eaLnBrk="0" fontAlgn="base" hangingPunct="0">
        <a:lnSpc>
          <a:spcPct val="90000"/>
        </a:lnSpc>
        <a:spcBef>
          <a:spcPct val="0"/>
        </a:spcBef>
        <a:spcAft>
          <a:spcPts val="1067"/>
        </a:spcAft>
        <a:buFont typeface="Arial" charset="0"/>
        <a:defRPr sz="1867" kern="1200">
          <a:solidFill>
            <a:schemeClr val="tx1"/>
          </a:solidFill>
          <a:latin typeface="Helvetica 55 Roman" panose="020B0604020202020204" pitchFamily="34" charset="0"/>
          <a:ea typeface="ＭＳ Ｐゴシック" pitchFamily="34" charset="-128"/>
          <a:cs typeface="+mn-cs"/>
        </a:defRPr>
      </a:lvl2pPr>
      <a:lvl3pPr marL="177792" indent="-177792" algn="l" defTabSz="685766" rtl="0" eaLnBrk="0" fontAlgn="base" hangingPunct="0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itchFamily="34" charset="0"/>
        <a:buChar char="−"/>
        <a:defRPr sz="1867" kern="1200">
          <a:solidFill>
            <a:schemeClr val="tx1"/>
          </a:solidFill>
          <a:latin typeface="Helvetica 55 Roman" panose="020B0604020202020204" pitchFamily="34" charset="0"/>
          <a:ea typeface="ＭＳ Ｐゴシック" pitchFamily="34" charset="-128"/>
          <a:cs typeface="+mn-cs"/>
        </a:defRPr>
      </a:lvl3pPr>
      <a:lvl4pPr marL="361934" indent="-179909" algn="l" defTabSz="685766" rtl="0" eaLnBrk="0" fontAlgn="base" hangingPunct="0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itchFamily="34" charset="0"/>
        <a:buChar char="−"/>
        <a:defRPr sz="1867" kern="1200">
          <a:solidFill>
            <a:schemeClr val="tx1"/>
          </a:solidFill>
          <a:latin typeface="Helvetica 55 Roman" panose="020B0604020202020204" pitchFamily="34" charset="0"/>
          <a:ea typeface="ＭＳ Ｐゴシック" pitchFamily="34" charset="-128"/>
          <a:cs typeface="+mn-cs"/>
        </a:defRPr>
      </a:lvl4pPr>
      <a:lvl5pPr marL="541840" indent="-179909" algn="l" defTabSz="685766" rtl="0" eaLnBrk="0" fontAlgn="base" hangingPunct="0">
        <a:lnSpc>
          <a:spcPct val="90000"/>
        </a:lnSpc>
        <a:spcBef>
          <a:spcPct val="0"/>
        </a:spcBef>
        <a:spcAft>
          <a:spcPts val="1067"/>
        </a:spcAft>
        <a:buClr>
          <a:schemeClr val="tx1"/>
        </a:buClr>
        <a:buFont typeface="Helvetica 75" pitchFamily="34" charset="0"/>
        <a:buChar char="−"/>
        <a:defRPr sz="1867" kern="1200">
          <a:solidFill>
            <a:schemeClr val="tx1"/>
          </a:solidFill>
          <a:latin typeface="Helvetica 55 Roman" panose="020B0604020202020204" pitchFamily="34" charset="0"/>
          <a:ea typeface="ＭＳ Ｐゴシック" pitchFamily="34" charset="-128"/>
          <a:cs typeface="+mn-cs"/>
        </a:defRPr>
      </a:lvl5pPr>
      <a:lvl6pPr marL="1885857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1pPr>
      <a:lvl2pPr marL="342882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4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8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2" algn="l" defTabSz="685766" rtl="0" eaLnBrk="1" latinLnBrk="0" hangingPunct="1">
        <a:defRPr sz="14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5.xml"/><Relationship Id="rId5" Type="http://schemas.microsoft.com/office/2007/relationships/hdphoto" Target="../media/hdphoto1.wdp"/><Relationship Id="rId4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291C893-D033-4549-BABD-C54FF577E0E5}"/>
              </a:ext>
            </a:extLst>
          </p:cNvPr>
          <p:cNvSpPr txBox="1"/>
          <p:nvPr/>
        </p:nvSpPr>
        <p:spPr>
          <a:xfrm>
            <a:off x="914586" y="2672044"/>
            <a:ext cx="589682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150" dirty="0">
                <a:latin typeface="Helvetica 75 Bold" panose="020B0804020202020204" pitchFamily="34" charset="0"/>
              </a:rPr>
              <a:t>Jak budować </a:t>
            </a:r>
            <a:r>
              <a:rPr lang="pl-PL" sz="3600" kern="700" spc="-150" dirty="0" err="1">
                <a:latin typeface="Helvetica 75 Bold" panose="020B0804020202020204" pitchFamily="34" charset="0"/>
              </a:rPr>
              <a:t>cyberodporność</a:t>
            </a:r>
            <a:endParaRPr lang="pl-PL" sz="3600" kern="700" spc="-150" dirty="0">
              <a:latin typeface="Helvetica 75 Bold" panose="020B0804020202020204" pitchFamily="34" charset="0"/>
            </a:endParaRPr>
          </a:p>
          <a:p>
            <a:endParaRPr lang="pl-PL" sz="3600" kern="700" spc="-150" dirty="0">
              <a:latin typeface="Helvetica 75 Bold" panose="020B0804020202020204" pitchFamily="34" charset="0"/>
            </a:endParaRPr>
          </a:p>
          <a:p>
            <a:endParaRPr lang="pl-PL" sz="3600" kern="700" spc="-150" dirty="0">
              <a:latin typeface="Helvetica 75 Bold" panose="020B0804020202020204" pitchFamily="34" charset="0"/>
            </a:endParaRPr>
          </a:p>
          <a:p>
            <a:r>
              <a:rPr lang="pl-PL" sz="2400" kern="700" spc="-150" dirty="0">
                <a:latin typeface="Helvetica 75 Bold" panose="020B0804020202020204" pitchFamily="34" charset="0"/>
              </a:rPr>
              <a:t>Kongres Informatyka dla ludzi lasu </a:t>
            </a:r>
          </a:p>
          <a:p>
            <a:r>
              <a:rPr lang="pl-PL" sz="2400" kern="700" spc="-150" dirty="0">
                <a:latin typeface="Helvetica 75 Bold" panose="020B0804020202020204" pitchFamily="34" charset="0"/>
              </a:rPr>
              <a:t>Rogów, 18 września</a:t>
            </a:r>
          </a:p>
        </p:txBody>
      </p:sp>
      <p:pic>
        <p:nvPicPr>
          <p:cNvPr id="16" name="Obraz 15">
            <a:extLst>
              <a:ext uri="{FF2B5EF4-FFF2-40B4-BE49-F238E27FC236}">
                <a16:creationId xmlns:a16="http://schemas.microsoft.com/office/drawing/2014/main" id="{41484B55-BBE2-46F6-AB7E-4510548FAB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494" t="23652" r="28276"/>
          <a:stretch/>
        </p:blipFill>
        <p:spPr>
          <a:xfrm>
            <a:off x="438336" y="370933"/>
            <a:ext cx="952500" cy="1205682"/>
          </a:xfrm>
          <a:prstGeom prst="rect">
            <a:avLst/>
          </a:prstGeom>
        </p:spPr>
      </p:pic>
      <p:pic>
        <p:nvPicPr>
          <p:cNvPr id="2" name="Obraz 1">
            <a:extLst>
              <a:ext uri="{FF2B5EF4-FFF2-40B4-BE49-F238E27FC236}">
                <a16:creationId xmlns:a16="http://schemas.microsoft.com/office/drawing/2014/main" id="{00D0F1E2-EE77-5000-12D9-888404EAC43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8213" y="1755853"/>
            <a:ext cx="2926334" cy="396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46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>
            <a:extLst>
              <a:ext uri="{FF2B5EF4-FFF2-40B4-BE49-F238E27FC236}">
                <a16:creationId xmlns:a16="http://schemas.microsoft.com/office/drawing/2014/main" id="{0C6C7773-9187-4DA5-9287-D2E775EFEB4D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Obraz 11">
            <a:extLst>
              <a:ext uri="{FF2B5EF4-FFF2-40B4-BE49-F238E27FC236}">
                <a16:creationId xmlns:a16="http://schemas.microsoft.com/office/drawing/2014/main" id="{A483AB84-168C-4ABA-A6F1-1D8C5E8A0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4926">
            <a:off x="6835981" y="2387376"/>
            <a:ext cx="4874896" cy="32499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Obraz 10">
            <a:extLst>
              <a:ext uri="{FF2B5EF4-FFF2-40B4-BE49-F238E27FC236}">
                <a16:creationId xmlns:a16="http://schemas.microsoft.com/office/drawing/2014/main" id="{EF0B7310-FE1B-44E3-8B4C-91515B4E3D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1271598">
            <a:off x="6450841" y="2252203"/>
            <a:ext cx="4671231" cy="31141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Obraz 4">
            <a:extLst>
              <a:ext uri="{FF2B5EF4-FFF2-40B4-BE49-F238E27FC236}">
                <a16:creationId xmlns:a16="http://schemas.microsoft.com/office/drawing/2014/main" id="{DB510B8D-78F5-2010-5063-74793B71EA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45026">
            <a:off x="6637796" y="2035233"/>
            <a:ext cx="4874896" cy="324993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Obraz 9">
            <a:extLst>
              <a:ext uri="{FF2B5EF4-FFF2-40B4-BE49-F238E27FC236}">
                <a16:creationId xmlns:a16="http://schemas.microsoft.com/office/drawing/2014/main" id="{DFAEE985-7E2F-4537-95A3-3290E6E101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-1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84366" y="2381029"/>
            <a:ext cx="4619298" cy="307953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extBox 3">
            <a:extLst>
              <a:ext uri="{FF2B5EF4-FFF2-40B4-BE49-F238E27FC236}">
                <a16:creationId xmlns:a16="http://schemas.microsoft.com/office/drawing/2014/main" id="{20AD3752-AE5D-4A41-A77F-EF975E7CB0DC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600" b="0" i="0" u="none" strike="noStrike" kern="700" cap="none" spc="-90" normalizeH="0" baseline="0" noProof="0" dirty="0">
                <a:ln>
                  <a:noFill/>
                </a:ln>
                <a:solidFill>
                  <a:srgbClr val="F3791F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entrum Doświadczeń </a:t>
            </a:r>
            <a:r>
              <a:rPr kumimoji="0" lang="pl-PL" sz="3600" b="0" i="0" u="none" strike="noStrike" kern="700" cap="none" spc="-90" normalizeH="0" baseline="0" noProof="0" dirty="0" err="1">
                <a:ln>
                  <a:noFill/>
                </a:ln>
                <a:solidFill>
                  <a:srgbClr val="F3791F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Cyberbezpieczeństwa</a:t>
            </a:r>
            <a:endParaRPr kumimoji="0" lang="pl-PL" sz="3600" b="0" i="0" u="none" strike="noStrike" kern="700" cap="none" spc="-9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75 Bold" panose="020B0804020202020204" pitchFamily="34" charset="0"/>
              <a:ea typeface="+mn-ea"/>
              <a:cs typeface="+mn-cs"/>
            </a:endParaRP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A2D46F55-C390-42A0-9080-DBA12C4D93F6}"/>
              </a:ext>
            </a:extLst>
          </p:cNvPr>
          <p:cNvSpPr txBox="1"/>
          <p:nvPr/>
        </p:nvSpPr>
        <p:spPr>
          <a:xfrm>
            <a:off x="174239" y="-329660"/>
            <a:ext cx="3510575" cy="55399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23900" b="0" i="0" u="none" strike="noStrike" kern="700" cap="none" spc="-90" normalizeH="0" baseline="0" noProof="0" dirty="0">
                <a:ln>
                  <a:noFill/>
                </a:ln>
                <a:solidFill>
                  <a:srgbClr val="E7E6E6">
                    <a:lumMod val="25000"/>
                  </a:srgbClr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„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15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2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A9219E76-E9DF-724E-E481-E091EE73DDDA}"/>
              </a:ext>
            </a:extLst>
          </p:cNvPr>
          <p:cNvSpPr txBox="1"/>
          <p:nvPr/>
        </p:nvSpPr>
        <p:spPr>
          <a:xfrm>
            <a:off x="736961" y="2629148"/>
            <a:ext cx="5233854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600" b="0" i="0" u="none" strike="noStrike" kern="700" cap="none" spc="-9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Ucz się z nami, jak lepiej chronić swoją firmę przed cyberatakami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555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rostokąt 19">
            <a:extLst>
              <a:ext uri="{FF2B5EF4-FFF2-40B4-BE49-F238E27FC236}">
                <a16:creationId xmlns:a16="http://schemas.microsoft.com/office/drawing/2014/main" id="{95E9ACED-E619-421A-A8A7-FC591A2ED914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 marR="0" lvl="1" indent="-457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8131E585-B3F4-4D1A-A41D-1DBD28CA7F1D}"/>
              </a:ext>
            </a:extLst>
          </p:cNvPr>
          <p:cNvSpPr txBox="1"/>
          <p:nvPr/>
        </p:nvSpPr>
        <p:spPr>
          <a:xfrm>
            <a:off x="285708" y="293425"/>
            <a:ext cx="113350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3600" b="0" i="0" u="none" strike="noStrike" kern="700" cap="none" spc="-90" normalizeH="0" baseline="0" noProof="0" dirty="0">
                <a:ln>
                  <a:noFill/>
                </a:ln>
                <a:solidFill>
                  <a:srgbClr val="F3791F"/>
                </a:solidFill>
                <a:effectLst/>
                <a:uLnTx/>
                <a:uFillTx/>
                <a:latin typeface="Helvetica 75 Bold" panose="020B0804020202020204" pitchFamily="34" charset="0"/>
                <a:ea typeface="+mn-ea"/>
                <a:cs typeface="+mn-cs"/>
              </a:rPr>
              <a:t>Pożar w biurowcu – analogia do systemów przeciwpożarowych</a:t>
            </a:r>
          </a:p>
        </p:txBody>
      </p:sp>
      <p:pic>
        <p:nvPicPr>
          <p:cNvPr id="2" name="Obraz 1">
            <a:extLst>
              <a:ext uri="{FF2B5EF4-FFF2-40B4-BE49-F238E27FC236}">
                <a16:creationId xmlns:a16="http://schemas.microsoft.com/office/drawing/2014/main" id="{FA0A18EE-EC66-D1E5-17CB-444AC78DF2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884" y="1967022"/>
            <a:ext cx="7868293" cy="44259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52831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8D6033-1CC1-74A7-5405-0C08E0513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rostokąt 23">
            <a:extLst>
              <a:ext uri="{FF2B5EF4-FFF2-40B4-BE49-F238E27FC236}">
                <a16:creationId xmlns:a16="http://schemas.microsoft.com/office/drawing/2014/main" id="{CC981CE8-A6F8-42E4-A2CA-ACB8F69FBC4D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4" name="Picture 6" descr="Icon&#10;&#10;Description automatically generated with medium confidence">
            <a:extLst>
              <a:ext uri="{FF2B5EF4-FFF2-40B4-BE49-F238E27FC236}">
                <a16:creationId xmlns:a16="http://schemas.microsoft.com/office/drawing/2014/main" id="{6783C111-5672-29DD-267D-8A3CD15F0BB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4446" y="1738678"/>
            <a:ext cx="9519564" cy="2105121"/>
          </a:xfrm>
          <a:prstGeom prst="rect">
            <a:avLst/>
          </a:prstGeom>
        </p:spPr>
      </p:pic>
      <p:sp>
        <p:nvSpPr>
          <p:cNvPr id="10" name="TextBox 3">
            <a:extLst>
              <a:ext uri="{FF2B5EF4-FFF2-40B4-BE49-F238E27FC236}">
                <a16:creationId xmlns:a16="http://schemas.microsoft.com/office/drawing/2014/main" id="{4FE6A2D8-4467-46C0-86D7-815AC8FBF173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90" dirty="0">
                <a:solidFill>
                  <a:srgbClr val="F3791F"/>
                </a:solidFill>
                <a:latin typeface="Helvetica 75 Bold" panose="020B0804020202020204" pitchFamily="34" charset="0"/>
              </a:rPr>
              <a:t>Budowanie </a:t>
            </a:r>
            <a:r>
              <a:rPr lang="pl-PL" sz="3600" kern="700" spc="-90" dirty="0" err="1">
                <a:solidFill>
                  <a:srgbClr val="F3791F"/>
                </a:solidFill>
                <a:latin typeface="Helvetica 75 Bold" panose="020B0804020202020204" pitchFamily="34" charset="0"/>
              </a:rPr>
              <a:t>cyberodporności</a:t>
            </a:r>
            <a:endParaRPr lang="pl-PL" sz="3600" kern="700" spc="-9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8A8D41BC-1560-4861-A090-4074AF4A8E80}"/>
              </a:ext>
            </a:extLst>
          </p:cNvPr>
          <p:cNvSpPr txBox="1"/>
          <p:nvPr/>
        </p:nvSpPr>
        <p:spPr>
          <a:xfrm>
            <a:off x="1334803" y="3848128"/>
            <a:ext cx="196807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000" spc="-80" dirty="0">
                <a:solidFill>
                  <a:srgbClr val="A885D8"/>
                </a:solidFill>
                <a:latin typeface="Helvetica 75" panose="020B0804020202020204" pitchFamily="34" charset="0"/>
              </a:rPr>
              <a:t>Przewiduj 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najnowsze zagrożenia cybernetyczne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i zapobiegaj ryzyku cyfrowemu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5">
            <a:extLst>
              <a:ext uri="{FF2B5EF4-FFF2-40B4-BE49-F238E27FC236}">
                <a16:creationId xmlns:a16="http://schemas.microsoft.com/office/drawing/2014/main" id="{CDA6ACFF-9F80-426A-8FBA-37E8B46D1604}"/>
              </a:ext>
            </a:extLst>
          </p:cNvPr>
          <p:cNvSpPr txBox="1"/>
          <p:nvPr/>
        </p:nvSpPr>
        <p:spPr>
          <a:xfrm>
            <a:off x="3298729" y="3848128"/>
            <a:ext cx="1882494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000" spc="-80" dirty="0">
                <a:solidFill>
                  <a:srgbClr val="FFD200"/>
                </a:solidFill>
                <a:latin typeface="Helvetica 75" panose="020B0804020202020204" pitchFamily="34" charset="0"/>
              </a:rPr>
              <a:t>Identyfikuj</a:t>
            </a:r>
            <a:r>
              <a:rPr lang="pl-PL" sz="2000" spc="-80" dirty="0">
                <a:solidFill>
                  <a:srgbClr val="A885D8"/>
                </a:solidFill>
                <a:latin typeface="Helvetica 75" panose="020B0804020202020204" pitchFamily="34" charset="0"/>
              </a:rPr>
              <a:t>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ryzyka i przygotuj strategię bezpieczeństwa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6">
            <a:extLst>
              <a:ext uri="{FF2B5EF4-FFF2-40B4-BE49-F238E27FC236}">
                <a16:creationId xmlns:a16="http://schemas.microsoft.com/office/drawing/2014/main" id="{DFC0DE30-FA6F-46CD-96A3-4565E75A1A13}"/>
              </a:ext>
            </a:extLst>
          </p:cNvPr>
          <p:cNvSpPr txBox="1"/>
          <p:nvPr/>
        </p:nvSpPr>
        <p:spPr>
          <a:xfrm>
            <a:off x="5215172" y="3848128"/>
            <a:ext cx="182319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000" spc="-80" dirty="0">
                <a:solidFill>
                  <a:srgbClr val="4BB4E6"/>
                </a:solidFill>
                <a:latin typeface="Helvetica 75" panose="020B0804020202020204" pitchFamily="34" charset="0"/>
              </a:rPr>
              <a:t>Chroń</a:t>
            </a:r>
            <a:r>
              <a:rPr lang="pl-PL" sz="1400" b="1" dirty="0">
                <a:solidFill>
                  <a:srgbClr val="FFFFFF"/>
                </a:solidFill>
                <a:latin typeface="Helvetica 75 Bold" panose="02000503000000020004" pitchFamily="2" charset="0"/>
                <a:ea typeface="Helvetica 75 Bold" panose="02000503000000020004" pitchFamily="2" charset="0"/>
                <a:cs typeface="Helvetica 75 Bold" panose="02000503000000020004" pitchFamily="2" charset="0"/>
              </a:rPr>
              <a:t>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swoją organizację za pomocą odpowiedniej technologii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i umiejętności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4C512430-1EEF-424A-84E2-ED16B420A5C0}"/>
              </a:ext>
            </a:extLst>
          </p:cNvPr>
          <p:cNvSpPr txBox="1"/>
          <p:nvPr/>
        </p:nvSpPr>
        <p:spPr>
          <a:xfrm>
            <a:off x="7175731" y="3848128"/>
            <a:ext cx="18847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000" spc="-80" dirty="0">
                <a:solidFill>
                  <a:srgbClr val="50BE87"/>
                </a:solidFill>
                <a:latin typeface="Helvetica 75" panose="020B0804020202020204" pitchFamily="34" charset="0"/>
              </a:rPr>
              <a:t>Wykrywaj </a:t>
            </a:r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cyberataki poprzez analizę alertów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i anomalii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w zachowaniu.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DE601E53-A11B-405B-B360-F8725FE5FE8F}"/>
              </a:ext>
            </a:extLst>
          </p:cNvPr>
          <p:cNvSpPr txBox="1"/>
          <p:nvPr/>
        </p:nvSpPr>
        <p:spPr>
          <a:xfrm>
            <a:off x="9099885" y="3848128"/>
            <a:ext cx="18824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000" spc="-80" dirty="0">
                <a:solidFill>
                  <a:srgbClr val="FFB4E6"/>
                </a:solidFill>
                <a:latin typeface="Helvetica 75" panose="020B0804020202020204" pitchFamily="34" charset="0"/>
              </a:rPr>
              <a:t>Reaguj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na cyberataki, stosuj odpowiednie plany powstrzymywania </a:t>
            </a:r>
          </a:p>
          <a:p>
            <a:pPr defTabSz="914102"/>
            <a:r>
              <a:rPr lang="pl-PL" sz="1300" dirty="0">
                <a:latin typeface="Arial" panose="020B0604020202020204" pitchFamily="34" charset="0"/>
                <a:cs typeface="Arial" panose="020B0604020202020204" pitchFamily="34" charset="0"/>
              </a:rPr>
              <a:t>i usuwania skutków</a:t>
            </a: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60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>
            <a:extLst>
              <a:ext uri="{FF2B5EF4-FFF2-40B4-BE49-F238E27FC236}">
                <a16:creationId xmlns:a16="http://schemas.microsoft.com/office/drawing/2014/main" id="{0C7C9DBB-B86D-D7AF-FE6A-A1E4777AC71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902"/>
          <a:stretch/>
        </p:blipFill>
        <p:spPr>
          <a:xfrm>
            <a:off x="1334454" y="1738678"/>
            <a:ext cx="9518400" cy="2081178"/>
          </a:xfrm>
          <a:prstGeom prst="rect">
            <a:avLst/>
          </a:prstGeom>
        </p:spPr>
      </p:pic>
      <p:sp>
        <p:nvSpPr>
          <p:cNvPr id="104" name="TextBox 3">
            <a:extLst>
              <a:ext uri="{FF2B5EF4-FFF2-40B4-BE49-F238E27FC236}">
                <a16:creationId xmlns:a16="http://schemas.microsoft.com/office/drawing/2014/main" id="{D7D2360A-9A6B-4246-AA3A-7C132405E9EF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90" dirty="0">
                <a:solidFill>
                  <a:srgbClr val="F3791F"/>
                </a:solidFill>
                <a:latin typeface="Helvetica 75 Bold" panose="020B0804020202020204" pitchFamily="34" charset="0"/>
              </a:rPr>
              <a:t>Rozwiązania i usługi </a:t>
            </a:r>
            <a:r>
              <a:rPr lang="pl-PL" sz="3600" kern="700" spc="-90" dirty="0" err="1">
                <a:solidFill>
                  <a:srgbClr val="F3791F"/>
                </a:solidFill>
                <a:latin typeface="Helvetica 75 Bold" panose="020B0804020202020204" pitchFamily="34" charset="0"/>
              </a:rPr>
              <a:t>cyberbezpieczeństwa</a:t>
            </a:r>
            <a:endParaRPr lang="pl-PL" sz="3600" kern="700" spc="-9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112" name="TextBox 1">
            <a:extLst>
              <a:ext uri="{FF2B5EF4-FFF2-40B4-BE49-F238E27FC236}">
                <a16:creationId xmlns:a16="http://schemas.microsoft.com/office/drawing/2014/main" id="{00715788-2C41-4755-AD34-D548F44B35B9}"/>
              </a:ext>
            </a:extLst>
          </p:cNvPr>
          <p:cNvSpPr txBox="1"/>
          <p:nvPr/>
        </p:nvSpPr>
        <p:spPr>
          <a:xfrm>
            <a:off x="1405562" y="3848128"/>
            <a:ext cx="19680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Przewiduj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Box 15">
            <a:extLst>
              <a:ext uri="{FF2B5EF4-FFF2-40B4-BE49-F238E27FC236}">
                <a16:creationId xmlns:a16="http://schemas.microsoft.com/office/drawing/2014/main" id="{CD8829A6-F5E0-4AB4-A1A1-D1DE4FD999C9}"/>
              </a:ext>
            </a:extLst>
          </p:cNvPr>
          <p:cNvSpPr txBox="1"/>
          <p:nvPr/>
        </p:nvSpPr>
        <p:spPr>
          <a:xfrm>
            <a:off x="3385817" y="3848128"/>
            <a:ext cx="1882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Identyfikuj </a:t>
            </a:r>
          </a:p>
        </p:txBody>
      </p:sp>
      <p:sp>
        <p:nvSpPr>
          <p:cNvPr id="114" name="TextBox 16">
            <a:extLst>
              <a:ext uri="{FF2B5EF4-FFF2-40B4-BE49-F238E27FC236}">
                <a16:creationId xmlns:a16="http://schemas.microsoft.com/office/drawing/2014/main" id="{C5085AE6-1DC7-4ED7-A6A1-B141C0D093E3}"/>
              </a:ext>
            </a:extLst>
          </p:cNvPr>
          <p:cNvSpPr txBox="1"/>
          <p:nvPr/>
        </p:nvSpPr>
        <p:spPr>
          <a:xfrm>
            <a:off x="5607058" y="3848128"/>
            <a:ext cx="18231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Chroń</a:t>
            </a:r>
            <a:r>
              <a:rPr lang="pl-PL" sz="1600" b="1" dirty="0">
                <a:solidFill>
                  <a:schemeClr val="bg1"/>
                </a:solidFill>
                <a:latin typeface="Helvetica 75 Bold" panose="02000503000000020004" pitchFamily="2" charset="0"/>
                <a:ea typeface="Helvetica 75 Bold" panose="02000503000000020004" pitchFamily="2" charset="0"/>
                <a:cs typeface="Helvetica 75 Bold" panose="02000503000000020004" pitchFamily="2" charset="0"/>
              </a:rPr>
              <a:t> </a:t>
            </a:r>
          </a:p>
        </p:txBody>
      </p:sp>
      <p:sp>
        <p:nvSpPr>
          <p:cNvPr id="115" name="TextBox 17">
            <a:extLst>
              <a:ext uri="{FF2B5EF4-FFF2-40B4-BE49-F238E27FC236}">
                <a16:creationId xmlns:a16="http://schemas.microsoft.com/office/drawing/2014/main" id="{DE65F9CC-DEB3-476F-8E3D-C7CB68E873E3}"/>
              </a:ext>
            </a:extLst>
          </p:cNvPr>
          <p:cNvSpPr txBox="1"/>
          <p:nvPr/>
        </p:nvSpPr>
        <p:spPr>
          <a:xfrm>
            <a:off x="7328134" y="3848128"/>
            <a:ext cx="18847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Wykrywaj</a:t>
            </a:r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TextBox 18">
            <a:extLst>
              <a:ext uri="{FF2B5EF4-FFF2-40B4-BE49-F238E27FC236}">
                <a16:creationId xmlns:a16="http://schemas.microsoft.com/office/drawing/2014/main" id="{DF92A6EB-BBD7-47AF-AE96-3AB17E2C17C7}"/>
              </a:ext>
            </a:extLst>
          </p:cNvPr>
          <p:cNvSpPr txBox="1"/>
          <p:nvPr/>
        </p:nvSpPr>
        <p:spPr>
          <a:xfrm>
            <a:off x="9426457" y="3848128"/>
            <a:ext cx="18824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102"/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Reaguj </a:t>
            </a:r>
          </a:p>
        </p:txBody>
      </p:sp>
      <p:sp>
        <p:nvSpPr>
          <p:cNvPr id="117" name="TextBox 227">
            <a:extLst>
              <a:ext uri="{FF2B5EF4-FFF2-40B4-BE49-F238E27FC236}">
                <a16:creationId xmlns:a16="http://schemas.microsoft.com/office/drawing/2014/main" id="{2EF1CCF7-0462-4B75-A964-9E57BF731905}"/>
              </a:ext>
            </a:extLst>
          </p:cNvPr>
          <p:cNvSpPr txBox="1"/>
          <p:nvPr/>
        </p:nvSpPr>
        <p:spPr>
          <a:xfrm>
            <a:off x="1338431" y="4353139"/>
            <a:ext cx="1862066" cy="93102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114300" indent="-114300" defTabSz="914102"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pl-PL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um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świadczeń    </a:t>
            </a:r>
            <a:r>
              <a:rPr lang="pl-PL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berbezpieczeństwa</a:t>
            </a:r>
            <a:endParaRPr lang="pl-PL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ort CERT Orange</a:t>
            </a:r>
          </a:p>
          <a:p>
            <a:pPr defTabSz="914102">
              <a:lnSpc>
                <a:spcPct val="150000"/>
              </a:lnSpc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7313" indent="-87313" defTabSz="685543"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owanie zagrożeń</a:t>
            </a:r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TextBox 227">
            <a:extLst>
              <a:ext uri="{FF2B5EF4-FFF2-40B4-BE49-F238E27FC236}">
                <a16:creationId xmlns:a16="http://schemas.microsoft.com/office/drawing/2014/main" id="{6FFA9676-656D-40BA-8B24-28732EA66670}"/>
              </a:ext>
            </a:extLst>
          </p:cNvPr>
          <p:cNvSpPr txBox="1"/>
          <p:nvPr/>
        </p:nvSpPr>
        <p:spPr>
          <a:xfrm>
            <a:off x="3388042" y="4329080"/>
            <a:ext cx="1870849" cy="153118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1219140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dyty bezpieczeństwa</a:t>
            </a: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iza ryzyka</a:t>
            </a:r>
          </a:p>
          <a:p>
            <a:pPr defTabSz="685543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SO na godziny</a:t>
            </a:r>
          </a:p>
          <a:p>
            <a:pPr defTabSz="685543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sty penetracyjne</a:t>
            </a:r>
          </a:p>
          <a:p>
            <a:pPr defTabSz="685543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berPakiet</a:t>
            </a:r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685543">
              <a:defRPr/>
            </a:pPr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TextBox 227">
            <a:extLst>
              <a:ext uri="{FF2B5EF4-FFF2-40B4-BE49-F238E27FC236}">
                <a16:creationId xmlns:a16="http://schemas.microsoft.com/office/drawing/2014/main" id="{F9C35BDC-C410-454A-AD4B-75B5EF2811C5}"/>
              </a:ext>
            </a:extLst>
          </p:cNvPr>
          <p:cNvSpPr txBox="1"/>
          <p:nvPr/>
        </p:nvSpPr>
        <p:spPr>
          <a:xfrm>
            <a:off x="5417016" y="4257390"/>
            <a:ext cx="1830554" cy="21461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hrona sieci</a:t>
            </a:r>
          </a:p>
          <a:p>
            <a:pPr defTabSz="914102">
              <a:lnSpc>
                <a:spcPct val="150000"/>
              </a:lnSpc>
              <a:defRPr/>
            </a:pPr>
            <a:endParaRPr lang="en-US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413" indent="-125413" defTabSz="914102"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hrona urządzeń końcowych</a:t>
            </a:r>
          </a:p>
          <a:p>
            <a:pPr defTabSz="914102"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413" indent="-125413" defTabSz="914102"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rządzanie tożsamością</a:t>
            </a:r>
          </a:p>
          <a:p>
            <a:pPr defTabSz="914102"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zpieczeństwo danych</a:t>
            </a: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hrona chmury</a:t>
            </a: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zpieczeństwo </a:t>
            </a:r>
            <a:r>
              <a:rPr lang="en-US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/OT</a:t>
            </a:r>
            <a:endParaRPr lang="pl-PL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hrona aplikacji</a:t>
            </a:r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TextBox 227">
            <a:extLst>
              <a:ext uri="{FF2B5EF4-FFF2-40B4-BE49-F238E27FC236}">
                <a16:creationId xmlns:a16="http://schemas.microsoft.com/office/drawing/2014/main" id="{3684D1FD-8C66-4C3F-A37E-1E927FCF8588}"/>
              </a:ext>
            </a:extLst>
          </p:cNvPr>
          <p:cNvSpPr txBox="1"/>
          <p:nvPr/>
        </p:nvSpPr>
        <p:spPr>
          <a:xfrm>
            <a:off x="7338262" y="4306823"/>
            <a:ext cx="1683405" cy="56881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</a:t>
            </a:r>
          </a:p>
          <a:p>
            <a:pPr defTabSz="685543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krywanie zagrożeń:</a:t>
            </a:r>
          </a:p>
        </p:txBody>
      </p:sp>
      <p:sp>
        <p:nvSpPr>
          <p:cNvPr id="121" name="TextBox 227">
            <a:extLst>
              <a:ext uri="{FF2B5EF4-FFF2-40B4-BE49-F238E27FC236}">
                <a16:creationId xmlns:a16="http://schemas.microsoft.com/office/drawing/2014/main" id="{F5DC9C1E-0AD0-46EB-BDC0-34E560B485D9}"/>
              </a:ext>
            </a:extLst>
          </p:cNvPr>
          <p:cNvSpPr txBox="1"/>
          <p:nvPr/>
        </p:nvSpPr>
        <p:spPr>
          <a:xfrm>
            <a:off x="9318816" y="4265549"/>
            <a:ext cx="1882494" cy="123822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zolacja urządzeń</a:t>
            </a:r>
          </a:p>
          <a:p>
            <a:pPr defTabSz="914102">
              <a:lnSpc>
                <a:spcPct val="150000"/>
              </a:lnSpc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0175" indent="-130175" defTabSz="914102"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gowanie na incydenty</a:t>
            </a:r>
          </a:p>
          <a:p>
            <a:pPr marL="130175" indent="-130175" defTabSz="914102">
              <a:defRPr/>
            </a:pPr>
            <a:endParaRPr lang="pl-PL" sz="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ciągłości działania</a:t>
            </a:r>
          </a:p>
          <a:p>
            <a:pPr defTabSz="914102">
              <a:lnSpc>
                <a:spcPct val="150000"/>
              </a:lnSpc>
              <a:defRPr/>
            </a:pPr>
            <a:r>
              <a:rPr lang="en-US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 </a:t>
            </a:r>
            <a:r>
              <a:rPr lang="pl-PL" sz="1100" dirty="0">
                <a:solidFill>
                  <a:srgbClr val="F379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dzyskiwanie po awarii</a:t>
            </a:r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2" name="TextBox 227">
            <a:extLst>
              <a:ext uri="{FF2B5EF4-FFF2-40B4-BE49-F238E27FC236}">
                <a16:creationId xmlns:a16="http://schemas.microsoft.com/office/drawing/2014/main" id="{3B7B2D6E-DEB5-40EB-964B-C339B43A351B}"/>
              </a:ext>
            </a:extLst>
          </p:cNvPr>
          <p:cNvSpPr txBox="1"/>
          <p:nvPr/>
        </p:nvSpPr>
        <p:spPr>
          <a:xfrm>
            <a:off x="7505355" y="4818651"/>
            <a:ext cx="1386537" cy="10304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defTabSz="914102">
              <a:defRPr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EM</a:t>
            </a:r>
          </a:p>
          <a:p>
            <a:pPr defTabSz="914102">
              <a:defRPr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DR</a:t>
            </a:r>
          </a:p>
          <a:p>
            <a:pPr defTabSz="914102">
              <a:defRPr/>
            </a:pP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▪️</a:t>
            </a:r>
            <a:r>
              <a:rPr lang="pl-PL" sz="1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XDR</a:t>
            </a:r>
          </a:p>
          <a:p>
            <a:pPr defTabSz="914102">
              <a:lnSpc>
                <a:spcPct val="150000"/>
              </a:lnSpc>
              <a:defRPr/>
            </a:pPr>
            <a:endParaRPr lang="pl-PL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102">
              <a:lnSpc>
                <a:spcPct val="150000"/>
              </a:lnSpc>
              <a:defRPr/>
            </a:pPr>
            <a:endParaRPr lang="pl-PL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807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291C893-D033-4549-BABD-C54FF577E0E5}"/>
              </a:ext>
            </a:extLst>
          </p:cNvPr>
          <p:cNvSpPr txBox="1"/>
          <p:nvPr/>
        </p:nvSpPr>
        <p:spPr>
          <a:xfrm>
            <a:off x="519688" y="2459504"/>
            <a:ext cx="830581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6000" kern="700" spc="-150" dirty="0">
                <a:latin typeface="Helvetica 75 Bold" panose="020B0804020202020204" pitchFamily="34" charset="0"/>
              </a:rPr>
              <a:t>Dziękuje i zapraszam do Warszawy </a:t>
            </a:r>
          </a:p>
        </p:txBody>
      </p:sp>
      <p:pic>
        <p:nvPicPr>
          <p:cNvPr id="16" name="Obraz 15">
            <a:extLst>
              <a:ext uri="{FF2B5EF4-FFF2-40B4-BE49-F238E27FC236}">
                <a16:creationId xmlns:a16="http://schemas.microsoft.com/office/drawing/2014/main" id="{41484B55-BBE2-46F6-AB7E-4510548FAB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494" t="23652" r="28276"/>
          <a:stretch/>
        </p:blipFill>
        <p:spPr>
          <a:xfrm>
            <a:off x="438336" y="370933"/>
            <a:ext cx="952500" cy="1205682"/>
          </a:xfrm>
          <a:prstGeom prst="rect">
            <a:avLst/>
          </a:prstGeom>
        </p:spPr>
      </p:pic>
      <p:sp>
        <p:nvSpPr>
          <p:cNvPr id="17" name="Prostokąt 16">
            <a:extLst>
              <a:ext uri="{FF2B5EF4-FFF2-40B4-BE49-F238E27FC236}">
                <a16:creationId xmlns:a16="http://schemas.microsoft.com/office/drawing/2014/main" id="{1F1EEEFC-B68E-41AF-914A-A8868B9AE204}"/>
              </a:ext>
            </a:extLst>
          </p:cNvPr>
          <p:cNvSpPr/>
          <p:nvPr/>
        </p:nvSpPr>
        <p:spPr>
          <a:xfrm>
            <a:off x="614207" y="4721289"/>
            <a:ext cx="436255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b="1" dirty="0">
                <a:solidFill>
                  <a:srgbClr val="F3791F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Daniel Kamiński</a:t>
            </a:r>
            <a:endParaRPr lang="en-GB" b="1" dirty="0">
              <a:solidFill>
                <a:srgbClr val="F3791F"/>
              </a:solidFill>
              <a:latin typeface="Helvetica Neue" panose="02000503000000020004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r>
              <a:rPr lang="pl-PL" dirty="0">
                <a:latin typeface="Helvetica Neue" panose="02000503000000020004"/>
              </a:rPr>
              <a:t>Trener ds. </a:t>
            </a:r>
            <a:r>
              <a:rPr lang="pl-PL" dirty="0" err="1">
                <a:latin typeface="Helvetica Neue" panose="02000503000000020004"/>
              </a:rPr>
              <a:t>cyberodporności</a:t>
            </a:r>
            <a:r>
              <a:rPr lang="pl-PL" dirty="0">
                <a:latin typeface="Helvetica Neue" panose="02000503000000020004"/>
              </a:rPr>
              <a:t>,</a:t>
            </a:r>
          </a:p>
          <a:p>
            <a:r>
              <a:rPr lang="pl-PL" dirty="0">
                <a:latin typeface="Helvetica Neue" panose="02000503000000020004"/>
              </a:rPr>
              <a:t>Orange Polska</a:t>
            </a:r>
            <a:endParaRPr lang="en-GB" b="1" dirty="0">
              <a:latin typeface="Helvetica Neue" panose="02000503000000020004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947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ostokąt 2">
            <a:extLst>
              <a:ext uri="{FF2B5EF4-FFF2-40B4-BE49-F238E27FC236}">
                <a16:creationId xmlns:a16="http://schemas.microsoft.com/office/drawing/2014/main" id="{1844F571-D99D-47BB-A711-6E4E12DCAB5E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Prostokąt: zaokrąglone rogi 3">
            <a:extLst>
              <a:ext uri="{FF2B5EF4-FFF2-40B4-BE49-F238E27FC236}">
                <a16:creationId xmlns:a16="http://schemas.microsoft.com/office/drawing/2014/main" id="{ACC7957B-59CB-4A5B-9D7C-03AC1960B5F0}"/>
              </a:ext>
            </a:extLst>
          </p:cNvPr>
          <p:cNvSpPr/>
          <p:nvPr/>
        </p:nvSpPr>
        <p:spPr>
          <a:xfrm>
            <a:off x="488517" y="3291050"/>
            <a:ext cx="5078001" cy="2785001"/>
          </a:xfrm>
          <a:prstGeom prst="roundRect">
            <a:avLst>
              <a:gd name="adj" fmla="val 841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DFA04557-8C74-49E3-ACFC-89F9635C63EC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Ile kosztuje brak </a:t>
            </a:r>
            <a:r>
              <a:rPr lang="pl-PL" sz="3600" kern="700" spc="-150" dirty="0" err="1">
                <a:solidFill>
                  <a:srgbClr val="F3791F"/>
                </a:solidFill>
                <a:latin typeface="Helvetica 75 Bold" panose="020B0804020202020204" pitchFamily="34" charset="0"/>
              </a:rPr>
              <a:t>cyberbezpieczeństwa</a:t>
            </a:r>
            <a:endParaRPr lang="pl-PL" sz="3600" kern="700" spc="-150" dirty="0">
              <a:solidFill>
                <a:srgbClr val="F3791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13" name="TextBox 3">
            <a:extLst>
              <a:ext uri="{FF2B5EF4-FFF2-40B4-BE49-F238E27FC236}">
                <a16:creationId xmlns:a16="http://schemas.microsoft.com/office/drawing/2014/main" id="{1DB452CA-4402-4067-8F9C-526B0A498BFE}"/>
              </a:ext>
            </a:extLst>
          </p:cNvPr>
          <p:cNvSpPr txBox="1"/>
          <p:nvPr/>
        </p:nvSpPr>
        <p:spPr>
          <a:xfrm>
            <a:off x="342763" y="2380140"/>
            <a:ext cx="7064723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4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Cyber</a:t>
            </a:r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 </a:t>
            </a:r>
            <a:r>
              <a:rPr lang="pl-PL" sz="24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Crime</a:t>
            </a:r>
            <a:r>
              <a:rPr lang="pl-PL" sz="24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 </a:t>
            </a:r>
          </a:p>
          <a:p>
            <a:r>
              <a:rPr lang="pl-PL" spc="-80" dirty="0">
                <a:solidFill>
                  <a:schemeClr val="bg1"/>
                </a:solidFill>
                <a:latin typeface="Helvetica 75" panose="020B0804020202020204" pitchFamily="34" charset="0"/>
              </a:rPr>
              <a:t>- trzecia ekonomia świata, </a:t>
            </a:r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wzrost 15% </a:t>
            </a:r>
            <a:r>
              <a:rPr lang="pl-PL" spc="-80" dirty="0">
                <a:solidFill>
                  <a:schemeClr val="bg1"/>
                </a:solidFill>
                <a:latin typeface="Helvetica 75" panose="020B0804020202020204" pitchFamily="34" charset="0"/>
              </a:rPr>
              <a:t>r/r</a:t>
            </a:r>
          </a:p>
          <a:p>
            <a:endParaRPr lang="pl-PL" sz="2000" b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pic>
        <p:nvPicPr>
          <p:cNvPr id="8" name="Obraz 7">
            <a:extLst>
              <a:ext uri="{FF2B5EF4-FFF2-40B4-BE49-F238E27FC236}">
                <a16:creationId xmlns:a16="http://schemas.microsoft.com/office/drawing/2014/main" id="{7B9AE6F2-3D7A-4995-9382-68A751CB9A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536" y="3429000"/>
            <a:ext cx="4476496" cy="2485587"/>
          </a:xfrm>
          <a:prstGeom prst="rect">
            <a:avLst/>
          </a:prstGeom>
        </p:spPr>
      </p:pic>
      <p:sp>
        <p:nvSpPr>
          <p:cNvPr id="15" name="TextBox 3">
            <a:extLst>
              <a:ext uri="{FF2B5EF4-FFF2-40B4-BE49-F238E27FC236}">
                <a16:creationId xmlns:a16="http://schemas.microsoft.com/office/drawing/2014/main" id="{B2587EF2-DA56-4317-B6B6-4215B42BD6D8}"/>
              </a:ext>
            </a:extLst>
          </p:cNvPr>
          <p:cNvSpPr txBox="1"/>
          <p:nvPr/>
        </p:nvSpPr>
        <p:spPr>
          <a:xfrm>
            <a:off x="6625484" y="3572320"/>
            <a:ext cx="235466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22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4. Germany </a:t>
            </a:r>
          </a:p>
          <a:p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4,5 </a:t>
            </a:r>
            <a:r>
              <a:rPr lang="pl-PL" sz="2200" spc="-80" dirty="0" err="1">
                <a:solidFill>
                  <a:srgbClr val="F3791F"/>
                </a:solidFill>
                <a:latin typeface="Helvetica 75" panose="020B0804020202020204" pitchFamily="34" charset="0"/>
              </a:rPr>
              <a:t>trillion</a:t>
            </a:r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 </a:t>
            </a:r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USD</a:t>
            </a:r>
          </a:p>
          <a:p>
            <a:endParaRPr lang="pl-PL" sz="2000" b="1" dirty="0">
              <a:solidFill>
                <a:schemeClr val="bg1"/>
              </a:solidFill>
              <a:latin typeface="Helvetica 75 Bold" panose="020B0804020202020204" pitchFamily="34" charset="0"/>
            </a:endParaRPr>
          </a:p>
          <a:p>
            <a:r>
              <a:rPr lang="pl-PL" sz="22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5. Japan </a:t>
            </a:r>
          </a:p>
          <a:p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4,2 </a:t>
            </a:r>
            <a:r>
              <a:rPr lang="pl-PL" sz="2200" spc="-80" dirty="0" err="1">
                <a:solidFill>
                  <a:srgbClr val="F3791F"/>
                </a:solidFill>
                <a:latin typeface="Helvetica 75" panose="020B0804020202020204" pitchFamily="34" charset="0"/>
              </a:rPr>
              <a:t>trillion</a:t>
            </a:r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 </a:t>
            </a:r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USD</a:t>
            </a:r>
          </a:p>
          <a:p>
            <a:endParaRPr lang="pl-PL" sz="2000" b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6" name="pole tekstowe 5">
            <a:extLst>
              <a:ext uri="{FF2B5EF4-FFF2-40B4-BE49-F238E27FC236}">
                <a16:creationId xmlns:a16="http://schemas.microsoft.com/office/drawing/2014/main" id="{A9219E76-E9DF-724E-E481-E091EE73DDDA}"/>
              </a:ext>
            </a:extLst>
          </p:cNvPr>
          <p:cNvSpPr txBox="1"/>
          <p:nvPr/>
        </p:nvSpPr>
        <p:spPr>
          <a:xfrm>
            <a:off x="342763" y="1200059"/>
            <a:ext cx="11805273" cy="8156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pc="-80" dirty="0">
                <a:solidFill>
                  <a:schemeClr val="bg1"/>
                </a:solidFill>
                <a:latin typeface="Helvetica 75" panose="020B0804020202020204" pitchFamily="34" charset="0"/>
              </a:rPr>
              <a:t>Globalny koszt cyberprzestępczości wzrośnie w ciągu najbliższych czterech lat, </a:t>
            </a:r>
          </a:p>
          <a:p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z 9,22 biliona dolarów </a:t>
            </a:r>
            <a:r>
              <a:rPr lang="pl-PL" spc="-80" dirty="0">
                <a:solidFill>
                  <a:schemeClr val="bg1"/>
                </a:solidFill>
                <a:latin typeface="Helvetica 75" panose="020B0804020202020204" pitchFamily="34" charset="0"/>
              </a:rPr>
              <a:t>w 2024 r. </a:t>
            </a:r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do 13,82 bln USD </a:t>
            </a:r>
            <a:r>
              <a:rPr lang="pl-PL" spc="-80" dirty="0">
                <a:solidFill>
                  <a:schemeClr val="bg1"/>
                </a:solidFill>
                <a:latin typeface="Helvetica 75" panose="020B0804020202020204" pitchFamily="34" charset="0"/>
              </a:rPr>
              <a:t>do 2028 r.</a:t>
            </a:r>
          </a:p>
          <a:p>
            <a:r>
              <a:rPr lang="pl-PL" sz="11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dług szacunków </a:t>
            </a:r>
            <a:r>
              <a:rPr lang="pl-PL" sz="11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sta's</a:t>
            </a:r>
            <a:r>
              <a:rPr lang="pl-PL" sz="11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rket </a:t>
            </a:r>
            <a:r>
              <a:rPr lang="pl-PL" sz="1100" dirty="0" err="1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ights</a:t>
            </a:r>
            <a:endParaRPr lang="pl-PL" sz="16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id="{74D615A7-9C03-4451-BE22-E107DD82FD5C}"/>
              </a:ext>
            </a:extLst>
          </p:cNvPr>
          <p:cNvSpPr/>
          <p:nvPr/>
        </p:nvSpPr>
        <p:spPr>
          <a:xfrm>
            <a:off x="9144417" y="3572320"/>
            <a:ext cx="3003619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22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6. </a:t>
            </a:r>
            <a:r>
              <a:rPr lang="pl-PL" sz="22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India</a:t>
            </a:r>
            <a:r>
              <a:rPr lang="pl-PL" sz="22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  </a:t>
            </a:r>
          </a:p>
          <a:p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3,5 </a:t>
            </a:r>
            <a:r>
              <a:rPr lang="pl-PL" sz="2200" spc="-80" dirty="0" err="1">
                <a:solidFill>
                  <a:srgbClr val="F3791F"/>
                </a:solidFill>
                <a:latin typeface="Helvetica 75" panose="020B0804020202020204" pitchFamily="34" charset="0"/>
              </a:rPr>
              <a:t>trillion</a:t>
            </a:r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 </a:t>
            </a:r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USD</a:t>
            </a:r>
            <a:endParaRPr lang="pl-PL" sz="2200" spc="-80" dirty="0">
              <a:solidFill>
                <a:srgbClr val="F3791F"/>
              </a:solidFill>
              <a:latin typeface="Helvetica 75" panose="020B0804020202020204" pitchFamily="34" charset="0"/>
            </a:endParaRPr>
          </a:p>
          <a:p>
            <a:endParaRPr lang="pl-PL" sz="22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r>
              <a:rPr lang="pl-PL" sz="22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21. Poland </a:t>
            </a:r>
          </a:p>
          <a:p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0,8 </a:t>
            </a:r>
            <a:r>
              <a:rPr lang="pl-PL" sz="2200" spc="-80" dirty="0" err="1">
                <a:solidFill>
                  <a:srgbClr val="F3791F"/>
                </a:solidFill>
                <a:latin typeface="Helvetica 75" panose="020B0804020202020204" pitchFamily="34" charset="0"/>
              </a:rPr>
              <a:t>trillion</a:t>
            </a:r>
            <a:r>
              <a:rPr lang="pl-PL" sz="22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 </a:t>
            </a:r>
            <a:r>
              <a:rPr lang="pl-PL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USD</a:t>
            </a:r>
            <a:endParaRPr lang="pl-PL" sz="2200" spc="-80" dirty="0">
              <a:solidFill>
                <a:srgbClr val="F3791F"/>
              </a:solidFill>
              <a:latin typeface="Helvetica 75" panose="020B0804020202020204" pitchFamily="34" charset="0"/>
            </a:endParaRPr>
          </a:p>
          <a:p>
            <a:endParaRPr lang="pl-PL" sz="700" b="1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B1E32944-932E-4E91-A5DD-FB51252663DD}"/>
              </a:ext>
            </a:extLst>
          </p:cNvPr>
          <p:cNvSpPr/>
          <p:nvPr/>
        </p:nvSpPr>
        <p:spPr>
          <a:xfrm>
            <a:off x="6625484" y="5334341"/>
            <a:ext cx="277992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11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e dla krajów World Bank Report 2023</a:t>
            </a:r>
          </a:p>
        </p:txBody>
      </p:sp>
    </p:spTree>
    <p:extLst>
      <p:ext uri="{BB962C8B-B14F-4D97-AF65-F5344CB8AC3E}">
        <p14:creationId xmlns:p14="http://schemas.microsoft.com/office/powerpoint/2010/main" val="406842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>
            <a:extLst>
              <a:ext uri="{FF2B5EF4-FFF2-40B4-BE49-F238E27FC236}">
                <a16:creationId xmlns:a16="http://schemas.microsoft.com/office/drawing/2014/main" id="{8B9F37D2-3B74-46E7-8B6C-0CF05F4A48B8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BE162710-DC81-B447-63FB-2E7DF682E4E8}"/>
              </a:ext>
            </a:extLst>
          </p:cNvPr>
          <p:cNvSpPr txBox="1"/>
          <p:nvPr/>
        </p:nvSpPr>
        <p:spPr>
          <a:xfrm>
            <a:off x="403495" y="1875963"/>
            <a:ext cx="512116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0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Ransomware</a:t>
            </a: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 na system ŚKUP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ria systemu Śląskiej Karty Usług Publicznych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alu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ikacji Mobilny ŚKUP 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stemu Dynamicznej Informacji Pasażerskiej 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sowników w czytnikach kart w pojazdach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D8B804F5-8282-685A-33AB-4AFD023C6BD0}"/>
              </a:ext>
            </a:extLst>
          </p:cNvPr>
          <p:cNvSpPr txBox="1"/>
          <p:nvPr/>
        </p:nvSpPr>
        <p:spPr>
          <a:xfrm>
            <a:off x="6190023" y="1875963"/>
            <a:ext cx="5336613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Cyberatak na Centralny Szpital Kliniczny Uniwersytetu Medycznego w Łodzi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liż pracy placówki 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muszone wyłączenie systemów informatycznych szpitala, dane wrażliwe ochronione</a:t>
            </a: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2BD2373E-7CAA-3940-7E53-CDD521741DB6}"/>
              </a:ext>
            </a:extLst>
          </p:cNvPr>
          <p:cNvSpPr txBox="1"/>
          <p:nvPr/>
        </p:nvSpPr>
        <p:spPr>
          <a:xfrm>
            <a:off x="441802" y="4567473"/>
            <a:ext cx="5044550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0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Ransomware</a:t>
            </a: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 PESA Bydgoszcz S.A. 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ruszenie infrastruktury informatycznej </a:t>
            </a:r>
          </a:p>
          <a:p>
            <a:pPr marL="449263" indent="-271463">
              <a:buClr>
                <a:srgbClr val="F3791F"/>
              </a:buClr>
              <a:buFont typeface="Wingdings" panose="05000000000000000000" pitchFamily="2" charset="2"/>
              <a:buChar char="§"/>
              <a:tabLst>
                <a:tab pos="538163" algn="l"/>
              </a:tabLst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spółpraca z ekspertami zewnętrznymi, aby zidentyfikować metody i źródła naruszenia infrastruktury informatycznej oraz zabezpieczenia środowiska IT</a:t>
            </a: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05ECDF1B-FC51-9C21-1CE7-23F3120CE502}"/>
              </a:ext>
            </a:extLst>
          </p:cNvPr>
          <p:cNvSpPr txBox="1"/>
          <p:nvPr/>
        </p:nvSpPr>
        <p:spPr>
          <a:xfrm>
            <a:off x="6212658" y="4591355"/>
            <a:ext cx="5336613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Największy atak na sieć energetyczną w Danii</a:t>
            </a:r>
          </a:p>
          <a:p>
            <a:pPr marL="360363" indent="-271463">
              <a:buClr>
                <a:srgbClr val="F3791F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k rosyjskich hakerów </a:t>
            </a:r>
          </a:p>
          <a:p>
            <a:pPr marL="360363" indent="-271463">
              <a:buClr>
                <a:srgbClr val="F3791F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l – 22 przedsiębiorstwa energetyczne </a:t>
            </a:r>
          </a:p>
          <a:p>
            <a:pPr marL="360363" indent="-271463">
              <a:buClr>
                <a:srgbClr val="F3791F"/>
              </a:buClr>
              <a:buFont typeface="Wingdings" panose="05000000000000000000" pitchFamily="2" charset="2"/>
              <a:buChar char="§"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ykorzystanie krytycznej luki, eksploatacja niezaktualizowanych systemów</a:t>
            </a:r>
            <a:endParaRPr lang="pl-PL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6CF342DF-76DE-3103-16D3-BE0FD812C730}"/>
              </a:ext>
            </a:extLst>
          </p:cNvPr>
          <p:cNvSpPr txBox="1"/>
          <p:nvPr/>
        </p:nvSpPr>
        <p:spPr>
          <a:xfrm>
            <a:off x="9701535" y="6447185"/>
            <a:ext cx="297988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ort CERT Orange Polska 2023</a:t>
            </a:r>
          </a:p>
        </p:txBody>
      </p:sp>
      <p:sp>
        <p:nvSpPr>
          <p:cNvPr id="12" name="TextBox 3">
            <a:extLst>
              <a:ext uri="{FF2B5EF4-FFF2-40B4-BE49-F238E27FC236}">
                <a16:creationId xmlns:a16="http://schemas.microsoft.com/office/drawing/2014/main" id="{0C02B45F-4F4D-4FA1-95CE-FB83F49177C5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Każda firma może być zaatakowana</a:t>
            </a:r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1B841A87-8F85-4F4F-A17E-8FE8A48663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802" y="1352110"/>
            <a:ext cx="545669" cy="545669"/>
          </a:xfrm>
          <a:prstGeom prst="rect">
            <a:avLst/>
          </a:prstGeom>
        </p:spPr>
      </p:pic>
      <p:pic>
        <p:nvPicPr>
          <p:cNvPr id="7" name="Obraz 6">
            <a:extLst>
              <a:ext uri="{FF2B5EF4-FFF2-40B4-BE49-F238E27FC236}">
                <a16:creationId xmlns:a16="http://schemas.microsoft.com/office/drawing/2014/main" id="{6C9CA4C8-4353-4AD0-A5ED-FB144F21D8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7311" y="1352110"/>
            <a:ext cx="545669" cy="545669"/>
          </a:xfrm>
          <a:prstGeom prst="rect">
            <a:avLst/>
          </a:prstGeom>
        </p:spPr>
      </p:pic>
      <p:pic>
        <p:nvPicPr>
          <p:cNvPr id="15" name="Obraz 14">
            <a:extLst>
              <a:ext uri="{FF2B5EF4-FFF2-40B4-BE49-F238E27FC236}">
                <a16:creationId xmlns:a16="http://schemas.microsoft.com/office/drawing/2014/main" id="{EC98E510-0738-4EB4-85D8-8BF91F1E8D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803" y="4025003"/>
            <a:ext cx="592573" cy="592573"/>
          </a:xfrm>
          <a:prstGeom prst="rect">
            <a:avLst/>
          </a:prstGeom>
        </p:spPr>
      </p:pic>
      <p:pic>
        <p:nvPicPr>
          <p:cNvPr id="18" name="Obraz 17">
            <a:extLst>
              <a:ext uri="{FF2B5EF4-FFF2-40B4-BE49-F238E27FC236}">
                <a16:creationId xmlns:a16="http://schemas.microsoft.com/office/drawing/2014/main" id="{6C326FDA-4686-4FDD-94F7-12BC61C32A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37311" y="4071907"/>
            <a:ext cx="545669" cy="54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1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rostokąt 24">
            <a:extLst>
              <a:ext uri="{FF2B5EF4-FFF2-40B4-BE49-F238E27FC236}">
                <a16:creationId xmlns:a16="http://schemas.microsoft.com/office/drawing/2014/main" id="{61D28E9E-EAFD-488F-95EB-4994EAAB3CB3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4" name="pole tekstowe 3">
            <a:extLst>
              <a:ext uri="{FF2B5EF4-FFF2-40B4-BE49-F238E27FC236}">
                <a16:creationId xmlns:a16="http://schemas.microsoft.com/office/drawing/2014/main" id="{98D79ED9-8BC1-A382-0603-10EF9CD54823}"/>
              </a:ext>
            </a:extLst>
          </p:cNvPr>
          <p:cNvSpPr txBox="1"/>
          <p:nvPr/>
        </p:nvSpPr>
        <p:spPr>
          <a:xfrm>
            <a:off x="557919" y="4985474"/>
            <a:ext cx="2048638" cy="492443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1219170"/>
            <a:r>
              <a:rPr lang="pl-PL" sz="32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Ataki </a:t>
            </a:r>
            <a:r>
              <a:rPr lang="pl-PL" sz="3200" kern="700" spc="-150" dirty="0" err="1">
                <a:solidFill>
                  <a:srgbClr val="F3791F"/>
                </a:solidFill>
                <a:latin typeface="Helvetica 75 Bold" panose="020B0804020202020204" pitchFamily="34" charset="0"/>
              </a:rPr>
              <a:t>DDoS</a:t>
            </a:r>
            <a:endParaRPr lang="pl-PL" sz="3200" kern="700" spc="-150" dirty="0">
              <a:solidFill>
                <a:srgbClr val="F3791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600EB8C2-3B53-45BE-9422-3C30F7D3AE5E}"/>
              </a:ext>
            </a:extLst>
          </p:cNvPr>
          <p:cNvSpPr txBox="1"/>
          <p:nvPr/>
        </p:nvSpPr>
        <p:spPr>
          <a:xfrm>
            <a:off x="557919" y="5468974"/>
            <a:ext cx="8196018" cy="10567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2400" spc="-80" dirty="0">
                <a:solidFill>
                  <a:srgbClr val="F3791F"/>
                </a:solidFill>
                <a:latin typeface="Helvetica 75" panose="020B0804020202020204" pitchFamily="34" charset="0"/>
              </a:rPr>
              <a:t>6x </a:t>
            </a:r>
            <a:r>
              <a:rPr lang="pl-PL" spc="-80" dirty="0">
                <a:latin typeface="Helvetica 75" panose="020B0804020202020204" pitchFamily="34" charset="0"/>
              </a:rPr>
              <a:t>większa siła ataków (2014-2023)</a:t>
            </a:r>
          </a:p>
          <a:p>
            <a:pPr defTabSz="1219170"/>
            <a:r>
              <a:rPr lang="pl-PL" spc="-80" dirty="0">
                <a:latin typeface="Helvetica 75" panose="020B0804020202020204" pitchFamily="34" charset="0"/>
              </a:rPr>
              <a:t>Od blokady strony www do ataków „</a:t>
            </a:r>
            <a:r>
              <a:rPr lang="pl-PL" spc="-80" dirty="0" err="1">
                <a:latin typeface="Helvetica 75" panose="020B0804020202020204" pitchFamily="34" charset="0"/>
              </a:rPr>
              <a:t>carpet</a:t>
            </a:r>
            <a:r>
              <a:rPr lang="pl-PL" spc="-80" dirty="0">
                <a:latin typeface="Helvetica 75" panose="020B0804020202020204" pitchFamily="34" charset="0"/>
              </a:rPr>
              <a:t> </a:t>
            </a:r>
            <a:r>
              <a:rPr lang="pl-PL" spc="-80" dirty="0" err="1">
                <a:latin typeface="Helvetica 75" panose="020B0804020202020204" pitchFamily="34" charset="0"/>
              </a:rPr>
              <a:t>bombing</a:t>
            </a:r>
            <a:r>
              <a:rPr lang="pl-PL" spc="-80" dirty="0">
                <a:latin typeface="Helvetica 75" panose="020B0804020202020204" pitchFamily="34" charset="0"/>
              </a:rPr>
              <a:t>” i „Tsunami” </a:t>
            </a:r>
            <a:r>
              <a:rPr lang="pl-PL" spc="-80" dirty="0" err="1">
                <a:latin typeface="Helvetica 75" panose="020B0804020202020204" pitchFamily="34" charset="0"/>
              </a:rPr>
              <a:t>DDoS</a:t>
            </a:r>
            <a:endParaRPr lang="pl-PL" spc="-80" dirty="0">
              <a:latin typeface="Helvetica 75" panose="020B0804020202020204" pitchFamily="34" charset="0"/>
            </a:endParaRPr>
          </a:p>
          <a:p>
            <a:pPr defTabSz="1219170"/>
            <a:endParaRPr lang="pl-PL" sz="2667" dirty="0">
              <a:solidFill>
                <a:srgbClr val="FFFFFF"/>
              </a:solidFill>
              <a:latin typeface="Helvetica 75 Bold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pole tekstowe 13">
            <a:extLst>
              <a:ext uri="{FF2B5EF4-FFF2-40B4-BE49-F238E27FC236}">
                <a16:creationId xmlns:a16="http://schemas.microsoft.com/office/drawing/2014/main" id="{89EA8404-A677-AF0E-54E1-1F447C3FD14C}"/>
              </a:ext>
            </a:extLst>
          </p:cNvPr>
          <p:cNvSpPr txBox="1"/>
          <p:nvPr/>
        </p:nvSpPr>
        <p:spPr>
          <a:xfrm>
            <a:off x="2502980" y="2078086"/>
            <a:ext cx="2488335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32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Atak </a:t>
            </a:r>
            <a:r>
              <a:rPr lang="pl-PL" sz="3200" kern="700" spc="-150" dirty="0" err="1">
                <a:solidFill>
                  <a:srgbClr val="F3791F"/>
                </a:solidFill>
                <a:latin typeface="Helvetica 75 Bold" panose="020B0804020202020204" pitchFamily="34" charset="0"/>
              </a:rPr>
              <a:t>DDoS</a:t>
            </a:r>
            <a:endParaRPr lang="pl-PL" sz="3200" kern="700" spc="-150" dirty="0">
              <a:solidFill>
                <a:srgbClr val="F3791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E18F4E76-2174-3D40-C86A-923C18A5DCF2}"/>
              </a:ext>
            </a:extLst>
          </p:cNvPr>
          <p:cNvSpPr txBox="1"/>
          <p:nvPr/>
        </p:nvSpPr>
        <p:spPr>
          <a:xfrm>
            <a:off x="2502980" y="2507243"/>
            <a:ext cx="3922512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pc="-80" dirty="0">
                <a:latin typeface="Helvetica 75" panose="020B0804020202020204" pitchFamily="34" charset="0"/>
              </a:rPr>
              <a:t>o rekordowej sile 586,5 </a:t>
            </a:r>
            <a:r>
              <a:rPr lang="pl-PL" spc="-80" dirty="0" err="1">
                <a:latin typeface="Helvetica 75" panose="020B0804020202020204" pitchFamily="34" charset="0"/>
              </a:rPr>
              <a:t>Gb</a:t>
            </a:r>
            <a:r>
              <a:rPr lang="pl-PL" spc="-80" dirty="0">
                <a:latin typeface="Helvetica 75" panose="020B0804020202020204" pitchFamily="34" charset="0"/>
              </a:rPr>
              <a:t>/s</a:t>
            </a: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FD22ABAD-0203-600E-2664-05B16BD09439}"/>
              </a:ext>
            </a:extLst>
          </p:cNvPr>
          <p:cNvSpPr txBox="1"/>
          <p:nvPr/>
        </p:nvSpPr>
        <p:spPr>
          <a:xfrm>
            <a:off x="7730449" y="2065979"/>
            <a:ext cx="1619033" cy="492443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1219170"/>
            <a:r>
              <a:rPr lang="pl-PL" sz="3200" kern="700" spc="-150" dirty="0" err="1">
                <a:solidFill>
                  <a:srgbClr val="F3791F"/>
                </a:solidFill>
                <a:latin typeface="Helvetica 75 Bold" panose="020B0804020202020204" pitchFamily="34" charset="0"/>
              </a:rPr>
              <a:t>Phishingi</a:t>
            </a:r>
            <a:endParaRPr lang="pl-PL" sz="3200" kern="700" spc="-150" dirty="0">
              <a:solidFill>
                <a:srgbClr val="F3791F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20" name="pole tekstowe 19">
            <a:extLst>
              <a:ext uri="{FF2B5EF4-FFF2-40B4-BE49-F238E27FC236}">
                <a16:creationId xmlns:a16="http://schemas.microsoft.com/office/drawing/2014/main" id="{A9C503E7-69A9-4B06-8D7C-F15E5D587310}"/>
              </a:ext>
            </a:extLst>
          </p:cNvPr>
          <p:cNvSpPr txBox="1"/>
          <p:nvPr/>
        </p:nvSpPr>
        <p:spPr>
          <a:xfrm>
            <a:off x="7730449" y="2495136"/>
            <a:ext cx="4039992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pc="-80" dirty="0">
                <a:latin typeface="Helvetica 75" panose="020B0804020202020204" pitchFamily="34" charset="0"/>
              </a:rPr>
              <a:t>o wiele bardziej wyrafinowane</a:t>
            </a:r>
          </a:p>
        </p:txBody>
      </p:sp>
      <p:sp>
        <p:nvSpPr>
          <p:cNvPr id="21" name="pole tekstowe 20">
            <a:extLst>
              <a:ext uri="{FF2B5EF4-FFF2-40B4-BE49-F238E27FC236}">
                <a16:creationId xmlns:a16="http://schemas.microsoft.com/office/drawing/2014/main" id="{C9ED39A9-4D0B-E6C9-216C-180DE33EF6A8}"/>
              </a:ext>
            </a:extLst>
          </p:cNvPr>
          <p:cNvSpPr txBox="1"/>
          <p:nvPr/>
        </p:nvSpPr>
        <p:spPr>
          <a:xfrm>
            <a:off x="5050954" y="3307012"/>
            <a:ext cx="6683696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32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Oprogramowanie</a:t>
            </a:r>
          </a:p>
        </p:txBody>
      </p:sp>
      <p:sp>
        <p:nvSpPr>
          <p:cNvPr id="22" name="pole tekstowe 21">
            <a:extLst>
              <a:ext uri="{FF2B5EF4-FFF2-40B4-BE49-F238E27FC236}">
                <a16:creationId xmlns:a16="http://schemas.microsoft.com/office/drawing/2014/main" id="{FC22A5AF-D2F2-261C-4B31-5E746301B3CE}"/>
              </a:ext>
            </a:extLst>
          </p:cNvPr>
          <p:cNvSpPr txBox="1"/>
          <p:nvPr/>
        </p:nvSpPr>
        <p:spPr>
          <a:xfrm>
            <a:off x="5059087" y="4152043"/>
            <a:ext cx="2769989" cy="276999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defTabSz="1219170"/>
            <a:r>
              <a:rPr lang="pl-PL" spc="-80" dirty="0">
                <a:latin typeface="Helvetica 75" panose="020B0804020202020204" pitchFamily="34" charset="0"/>
              </a:rPr>
              <a:t>wykradające dane +40% r/r</a:t>
            </a:r>
          </a:p>
        </p:txBody>
      </p:sp>
      <p:sp>
        <p:nvSpPr>
          <p:cNvPr id="3" name="pole tekstowe 2">
            <a:extLst>
              <a:ext uri="{FF2B5EF4-FFF2-40B4-BE49-F238E27FC236}">
                <a16:creationId xmlns:a16="http://schemas.microsoft.com/office/drawing/2014/main" id="{2FCB27CB-1BCC-F678-8059-8D85BDE40364}"/>
              </a:ext>
            </a:extLst>
          </p:cNvPr>
          <p:cNvSpPr txBox="1"/>
          <p:nvPr/>
        </p:nvSpPr>
        <p:spPr>
          <a:xfrm>
            <a:off x="463635" y="6426695"/>
            <a:ext cx="112647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70"/>
            <a:r>
              <a:rPr lang="pl-PL" spc="-80" dirty="0">
                <a:latin typeface="Helvetica 75" panose="020B0804020202020204" pitchFamily="34" charset="0"/>
              </a:rPr>
              <a:t>Krytyczne podatności w rozwiązaniach bezpieczeństwa</a:t>
            </a:r>
          </a:p>
        </p:txBody>
      </p:sp>
      <p:sp>
        <p:nvSpPr>
          <p:cNvPr id="24" name="TextBox 3">
            <a:extLst>
              <a:ext uri="{FF2B5EF4-FFF2-40B4-BE49-F238E27FC236}">
                <a16:creationId xmlns:a16="http://schemas.microsoft.com/office/drawing/2014/main" id="{5B49026C-B953-4C6B-A573-F1F2B7380BF0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Gdzie dziś jesteśmy</a:t>
            </a:r>
          </a:p>
        </p:txBody>
      </p:sp>
      <p:sp>
        <p:nvSpPr>
          <p:cNvPr id="2" name="Prostokąt 1">
            <a:extLst>
              <a:ext uri="{FF2B5EF4-FFF2-40B4-BE49-F238E27FC236}">
                <a16:creationId xmlns:a16="http://schemas.microsoft.com/office/drawing/2014/main" id="{9A95E91F-D606-43B4-BAAE-C868F92E546F}"/>
              </a:ext>
            </a:extLst>
          </p:cNvPr>
          <p:cNvSpPr/>
          <p:nvPr/>
        </p:nvSpPr>
        <p:spPr>
          <a:xfrm>
            <a:off x="4980131" y="3643790"/>
            <a:ext cx="231185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32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szpiegujące</a:t>
            </a:r>
          </a:p>
        </p:txBody>
      </p:sp>
      <p:sp>
        <p:nvSpPr>
          <p:cNvPr id="26" name="pole tekstowe 25">
            <a:extLst>
              <a:ext uri="{FF2B5EF4-FFF2-40B4-BE49-F238E27FC236}">
                <a16:creationId xmlns:a16="http://schemas.microsoft.com/office/drawing/2014/main" id="{B3A9798C-4F3D-40AA-B6CE-30680316E2F6}"/>
              </a:ext>
            </a:extLst>
          </p:cNvPr>
          <p:cNvSpPr txBox="1"/>
          <p:nvPr/>
        </p:nvSpPr>
        <p:spPr>
          <a:xfrm>
            <a:off x="1724134" y="2081332"/>
            <a:ext cx="778846" cy="67710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400" kern="700" spc="-150" dirty="0">
                <a:latin typeface="Helvetica 75 Bold" panose="020B0804020202020204" pitchFamily="34" charset="0"/>
              </a:rPr>
              <a:t>#1</a:t>
            </a:r>
          </a:p>
        </p:txBody>
      </p:sp>
      <p:sp>
        <p:nvSpPr>
          <p:cNvPr id="27" name="pole tekstowe 26">
            <a:extLst>
              <a:ext uri="{FF2B5EF4-FFF2-40B4-BE49-F238E27FC236}">
                <a16:creationId xmlns:a16="http://schemas.microsoft.com/office/drawing/2014/main" id="{12F20B84-900C-4CE9-A144-CB615262259A}"/>
              </a:ext>
            </a:extLst>
          </p:cNvPr>
          <p:cNvSpPr txBox="1"/>
          <p:nvPr/>
        </p:nvSpPr>
        <p:spPr>
          <a:xfrm>
            <a:off x="6951603" y="2107134"/>
            <a:ext cx="778846" cy="67710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400" kern="700" spc="-150" dirty="0">
                <a:latin typeface="Helvetica 75 Bold" panose="020B0804020202020204" pitchFamily="34" charset="0"/>
              </a:rPr>
              <a:t>#2</a:t>
            </a:r>
          </a:p>
        </p:txBody>
      </p:sp>
      <p:sp>
        <p:nvSpPr>
          <p:cNvPr id="28" name="pole tekstowe 27">
            <a:extLst>
              <a:ext uri="{FF2B5EF4-FFF2-40B4-BE49-F238E27FC236}">
                <a16:creationId xmlns:a16="http://schemas.microsoft.com/office/drawing/2014/main" id="{8C8DC458-6699-4D48-A4B2-CF2465ADE036}"/>
              </a:ext>
            </a:extLst>
          </p:cNvPr>
          <p:cNvSpPr txBox="1"/>
          <p:nvPr/>
        </p:nvSpPr>
        <p:spPr>
          <a:xfrm>
            <a:off x="4299689" y="3394900"/>
            <a:ext cx="778846" cy="67710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400" kern="700" spc="-150" dirty="0">
                <a:latin typeface="Helvetica 75 Bold" panose="020B0804020202020204" pitchFamily="34" charset="0"/>
              </a:rPr>
              <a:t>#3</a:t>
            </a:r>
          </a:p>
        </p:txBody>
      </p:sp>
      <p:sp>
        <p:nvSpPr>
          <p:cNvPr id="7" name="Prostokąt: zaokrąglone rogi 6">
            <a:extLst>
              <a:ext uri="{FF2B5EF4-FFF2-40B4-BE49-F238E27FC236}">
                <a16:creationId xmlns:a16="http://schemas.microsoft.com/office/drawing/2014/main" id="{93B61BF9-9122-4B7E-8D07-39770917F6EB}"/>
              </a:ext>
            </a:extLst>
          </p:cNvPr>
          <p:cNvSpPr/>
          <p:nvPr/>
        </p:nvSpPr>
        <p:spPr>
          <a:xfrm>
            <a:off x="1469770" y="1586589"/>
            <a:ext cx="9911443" cy="3064957"/>
          </a:xfrm>
          <a:prstGeom prst="roundRect">
            <a:avLst>
              <a:gd name="adj" fmla="val 7965"/>
            </a:avLst>
          </a:prstGeom>
          <a:noFill/>
          <a:ln w="12700">
            <a:solidFill>
              <a:schemeClr val="tx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129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rostokąt 4">
            <a:extLst>
              <a:ext uri="{FF2B5EF4-FFF2-40B4-BE49-F238E27FC236}">
                <a16:creationId xmlns:a16="http://schemas.microsoft.com/office/drawing/2014/main" id="{198E950C-E61D-4518-B89E-8B339C771082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pic>
        <p:nvPicPr>
          <p:cNvPr id="4" name="Obraz 3">
            <a:extLst>
              <a:ext uri="{FF2B5EF4-FFF2-40B4-BE49-F238E27FC236}">
                <a16:creationId xmlns:a16="http://schemas.microsoft.com/office/drawing/2014/main" id="{CCB0E5BF-FCFD-4EDC-B87B-65A4300F3AE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027" t="8453" r="35103"/>
          <a:stretch/>
        </p:blipFill>
        <p:spPr>
          <a:xfrm rot="2725140">
            <a:off x="3495036" y="1570246"/>
            <a:ext cx="4554676" cy="4415245"/>
          </a:xfrm>
          <a:prstGeom prst="ellipse">
            <a:avLst/>
          </a:prstGeom>
        </p:spPr>
      </p:pic>
      <p:sp>
        <p:nvSpPr>
          <p:cNvPr id="6" name="TextBox 3">
            <a:extLst>
              <a:ext uri="{FF2B5EF4-FFF2-40B4-BE49-F238E27FC236}">
                <a16:creationId xmlns:a16="http://schemas.microsoft.com/office/drawing/2014/main" id="{BC714BF8-3F28-42C4-8298-0367AA69A5B2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TOP 3 zagrożeń wg CERT Orange Polska</a:t>
            </a:r>
          </a:p>
        </p:txBody>
      </p:sp>
      <p:sp>
        <p:nvSpPr>
          <p:cNvPr id="7" name="pole tekstowe 6">
            <a:extLst>
              <a:ext uri="{FF2B5EF4-FFF2-40B4-BE49-F238E27FC236}">
                <a16:creationId xmlns:a16="http://schemas.microsoft.com/office/drawing/2014/main" id="{6B27AB4D-EB79-49A5-9C01-8E7F75122753}"/>
              </a:ext>
            </a:extLst>
          </p:cNvPr>
          <p:cNvSpPr txBox="1"/>
          <p:nvPr/>
        </p:nvSpPr>
        <p:spPr>
          <a:xfrm>
            <a:off x="9769096" y="6542377"/>
            <a:ext cx="2979887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100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port CERT Orange Polska 2023</a:t>
            </a:r>
          </a:p>
        </p:txBody>
      </p:sp>
      <p:sp>
        <p:nvSpPr>
          <p:cNvPr id="8" name="pole tekstowe 7">
            <a:extLst>
              <a:ext uri="{FF2B5EF4-FFF2-40B4-BE49-F238E27FC236}">
                <a16:creationId xmlns:a16="http://schemas.microsoft.com/office/drawing/2014/main" id="{4CAD20A1-06FB-4EA7-BF41-BF01FACEE9CC}"/>
              </a:ext>
            </a:extLst>
          </p:cNvPr>
          <p:cNvSpPr txBox="1"/>
          <p:nvPr/>
        </p:nvSpPr>
        <p:spPr>
          <a:xfrm>
            <a:off x="1628839" y="2095528"/>
            <a:ext cx="2488335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800" kern="700" spc="-80" dirty="0">
                <a:solidFill>
                  <a:srgbClr val="F3791F"/>
                </a:solidFill>
                <a:latin typeface="Helvetica 75 Bold" panose="020B0804020202020204" pitchFamily="34" charset="0"/>
              </a:rPr>
              <a:t>44%</a:t>
            </a:r>
          </a:p>
          <a:p>
            <a:pPr defTabSz="1219170"/>
            <a:r>
              <a:rPr lang="pl-PL" sz="2400" kern="700" spc="-90" dirty="0" err="1">
                <a:solidFill>
                  <a:schemeClr val="bg1"/>
                </a:solidFill>
                <a:latin typeface="Helvetica 75 Bold" panose="020B0804020202020204" pitchFamily="34" charset="0"/>
              </a:rPr>
              <a:t>Phishing</a:t>
            </a:r>
            <a:endParaRPr lang="pl-PL" sz="2400" kern="700" spc="-9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9" name="pole tekstowe 8">
            <a:extLst>
              <a:ext uri="{FF2B5EF4-FFF2-40B4-BE49-F238E27FC236}">
                <a16:creationId xmlns:a16="http://schemas.microsoft.com/office/drawing/2014/main" id="{9B9BE005-E038-43F7-812A-743729EC3CFE}"/>
              </a:ext>
            </a:extLst>
          </p:cNvPr>
          <p:cNvSpPr txBox="1"/>
          <p:nvPr/>
        </p:nvSpPr>
        <p:spPr>
          <a:xfrm>
            <a:off x="8860826" y="2074293"/>
            <a:ext cx="2488335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800" kern="700" spc="-80" dirty="0">
                <a:solidFill>
                  <a:srgbClr val="F3791F"/>
                </a:solidFill>
                <a:latin typeface="Helvetica 75 Bold" panose="020B0804020202020204" pitchFamily="34" charset="0"/>
              </a:rPr>
              <a:t>18%</a:t>
            </a:r>
          </a:p>
          <a:p>
            <a:pPr defTabSz="1219170"/>
            <a:r>
              <a:rPr lang="pl-PL" sz="2400" kern="700" spc="-90" dirty="0">
                <a:solidFill>
                  <a:schemeClr val="bg1"/>
                </a:solidFill>
                <a:latin typeface="Helvetica 75 Bold" panose="020B0804020202020204" pitchFamily="34" charset="0"/>
              </a:rPr>
              <a:t>Ataki </a:t>
            </a:r>
            <a:r>
              <a:rPr lang="pl-PL" sz="2400" kern="700" spc="-90" dirty="0" err="1">
                <a:solidFill>
                  <a:schemeClr val="bg1"/>
                </a:solidFill>
                <a:latin typeface="Helvetica 75 Bold" panose="020B0804020202020204" pitchFamily="34" charset="0"/>
              </a:rPr>
              <a:t>DDoS</a:t>
            </a:r>
            <a:endParaRPr lang="pl-PL" sz="2400" kern="700" spc="-9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  <p:sp>
        <p:nvSpPr>
          <p:cNvPr id="10" name="pole tekstowe 9">
            <a:extLst>
              <a:ext uri="{FF2B5EF4-FFF2-40B4-BE49-F238E27FC236}">
                <a16:creationId xmlns:a16="http://schemas.microsoft.com/office/drawing/2014/main" id="{AF72F819-A858-4054-A32B-8F571AECB5D0}"/>
              </a:ext>
            </a:extLst>
          </p:cNvPr>
          <p:cNvSpPr txBox="1"/>
          <p:nvPr/>
        </p:nvSpPr>
        <p:spPr>
          <a:xfrm>
            <a:off x="8904369" y="4258495"/>
            <a:ext cx="2488335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800" kern="700" spc="-80" dirty="0">
                <a:solidFill>
                  <a:srgbClr val="F3791F"/>
                </a:solidFill>
                <a:latin typeface="Helvetica 75 Bold" panose="020B0804020202020204" pitchFamily="34" charset="0"/>
              </a:rPr>
              <a:t>15%</a:t>
            </a:r>
          </a:p>
          <a:p>
            <a:pPr defTabSz="1219170"/>
            <a:r>
              <a:rPr lang="pl-PL" sz="2400" kern="700" spc="-90" dirty="0">
                <a:solidFill>
                  <a:schemeClr val="bg1"/>
                </a:solidFill>
                <a:latin typeface="Helvetica 75 Bold" panose="020B0804020202020204" pitchFamily="34" charset="0"/>
              </a:rPr>
              <a:t>Złośliwe</a:t>
            </a: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85E9176D-06F5-44EF-AC20-FC46CA33E627}"/>
              </a:ext>
            </a:extLst>
          </p:cNvPr>
          <p:cNvSpPr txBox="1"/>
          <p:nvPr/>
        </p:nvSpPr>
        <p:spPr>
          <a:xfrm>
            <a:off x="1628839" y="4269973"/>
            <a:ext cx="2488335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1219170"/>
            <a:r>
              <a:rPr lang="pl-PL" sz="4800" kern="700" spc="-80" dirty="0">
                <a:solidFill>
                  <a:srgbClr val="F3791F"/>
                </a:solidFill>
                <a:latin typeface="Helvetica 75 Bold" panose="020B0804020202020204" pitchFamily="34" charset="0"/>
              </a:rPr>
              <a:t>23%</a:t>
            </a:r>
          </a:p>
          <a:p>
            <a:pPr defTabSz="1219170"/>
            <a:r>
              <a:rPr lang="pl-PL" sz="2400" kern="700" spc="-90" dirty="0">
                <a:solidFill>
                  <a:schemeClr val="bg1"/>
                </a:solidFill>
                <a:latin typeface="Helvetica 75 Bold" panose="020B0804020202020204" pitchFamily="34" charset="0"/>
              </a:rPr>
              <a:t>Inne</a:t>
            </a:r>
          </a:p>
        </p:txBody>
      </p:sp>
      <p:cxnSp>
        <p:nvCxnSpPr>
          <p:cNvPr id="17" name="Łącznik prosty 16">
            <a:extLst>
              <a:ext uri="{FF2B5EF4-FFF2-40B4-BE49-F238E27FC236}">
                <a16:creationId xmlns:a16="http://schemas.microsoft.com/office/drawing/2014/main" id="{03487583-69BD-4A7B-AB60-B4EDECB07980}"/>
              </a:ext>
            </a:extLst>
          </p:cNvPr>
          <p:cNvCxnSpPr/>
          <p:nvPr/>
        </p:nvCxnSpPr>
        <p:spPr>
          <a:xfrm flipH="1">
            <a:off x="2881928" y="2735582"/>
            <a:ext cx="155920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>
            <a:extLst>
              <a:ext uri="{FF2B5EF4-FFF2-40B4-BE49-F238E27FC236}">
                <a16:creationId xmlns:a16="http://schemas.microsoft.com/office/drawing/2014/main" id="{93AB40E4-B74B-4AE1-8916-4768A4D5D691}"/>
              </a:ext>
            </a:extLst>
          </p:cNvPr>
          <p:cNvCxnSpPr/>
          <p:nvPr/>
        </p:nvCxnSpPr>
        <p:spPr>
          <a:xfrm flipH="1">
            <a:off x="7232462" y="2757354"/>
            <a:ext cx="155920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>
            <a:extLst>
              <a:ext uri="{FF2B5EF4-FFF2-40B4-BE49-F238E27FC236}">
                <a16:creationId xmlns:a16="http://schemas.microsoft.com/office/drawing/2014/main" id="{8FF6E927-36A9-43BC-8846-2A6505C47EBF}"/>
              </a:ext>
            </a:extLst>
          </p:cNvPr>
          <p:cNvCxnSpPr/>
          <p:nvPr/>
        </p:nvCxnSpPr>
        <p:spPr>
          <a:xfrm flipH="1">
            <a:off x="7232461" y="4896081"/>
            <a:ext cx="155920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Łącznik prosty 22">
            <a:extLst>
              <a:ext uri="{FF2B5EF4-FFF2-40B4-BE49-F238E27FC236}">
                <a16:creationId xmlns:a16="http://schemas.microsoft.com/office/drawing/2014/main" id="{34068D61-585E-46B3-B30C-C5B0F0EA4125}"/>
              </a:ext>
            </a:extLst>
          </p:cNvPr>
          <p:cNvCxnSpPr/>
          <p:nvPr/>
        </p:nvCxnSpPr>
        <p:spPr>
          <a:xfrm flipH="1">
            <a:off x="2881928" y="4980305"/>
            <a:ext cx="1559205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wal 23">
            <a:extLst>
              <a:ext uri="{FF2B5EF4-FFF2-40B4-BE49-F238E27FC236}">
                <a16:creationId xmlns:a16="http://schemas.microsoft.com/office/drawing/2014/main" id="{4175A5D6-ED20-47BA-B067-0B0D6C5A714D}"/>
              </a:ext>
            </a:extLst>
          </p:cNvPr>
          <p:cNvSpPr/>
          <p:nvPr/>
        </p:nvSpPr>
        <p:spPr>
          <a:xfrm>
            <a:off x="2852698" y="2711417"/>
            <a:ext cx="54428" cy="54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5" name="Owal 24">
            <a:extLst>
              <a:ext uri="{FF2B5EF4-FFF2-40B4-BE49-F238E27FC236}">
                <a16:creationId xmlns:a16="http://schemas.microsoft.com/office/drawing/2014/main" id="{76185999-A094-456A-8748-0BB03147FE02}"/>
              </a:ext>
            </a:extLst>
          </p:cNvPr>
          <p:cNvSpPr/>
          <p:nvPr/>
        </p:nvSpPr>
        <p:spPr>
          <a:xfrm>
            <a:off x="2828965" y="4953091"/>
            <a:ext cx="54428" cy="54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6" name="Owal 25">
            <a:extLst>
              <a:ext uri="{FF2B5EF4-FFF2-40B4-BE49-F238E27FC236}">
                <a16:creationId xmlns:a16="http://schemas.microsoft.com/office/drawing/2014/main" id="{7E6991A8-FD0D-4B2C-9A09-0AA873FC2E21}"/>
              </a:ext>
            </a:extLst>
          </p:cNvPr>
          <p:cNvSpPr/>
          <p:nvPr/>
        </p:nvSpPr>
        <p:spPr>
          <a:xfrm>
            <a:off x="8791666" y="2730140"/>
            <a:ext cx="54428" cy="54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7" name="Owal 26">
            <a:extLst>
              <a:ext uri="{FF2B5EF4-FFF2-40B4-BE49-F238E27FC236}">
                <a16:creationId xmlns:a16="http://schemas.microsoft.com/office/drawing/2014/main" id="{B99E9E42-29C2-451A-8F70-5339377FCCB3}"/>
              </a:ext>
            </a:extLst>
          </p:cNvPr>
          <p:cNvSpPr/>
          <p:nvPr/>
        </p:nvSpPr>
        <p:spPr>
          <a:xfrm>
            <a:off x="8774262" y="4868867"/>
            <a:ext cx="54428" cy="5442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8" name="Prostokąt 27">
            <a:extLst>
              <a:ext uri="{FF2B5EF4-FFF2-40B4-BE49-F238E27FC236}">
                <a16:creationId xmlns:a16="http://schemas.microsoft.com/office/drawing/2014/main" id="{DDB768A1-2505-47FD-A71B-C21AA9DF5C14}"/>
              </a:ext>
            </a:extLst>
          </p:cNvPr>
          <p:cNvSpPr/>
          <p:nvPr/>
        </p:nvSpPr>
        <p:spPr>
          <a:xfrm>
            <a:off x="8801476" y="5240562"/>
            <a:ext cx="25166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l-PL" sz="2400" kern="700" spc="-90" dirty="0" err="1">
                <a:solidFill>
                  <a:schemeClr val="bg1"/>
                </a:solidFill>
                <a:latin typeface="Helvetica 75 Bold" panose="020B0804020202020204" pitchFamily="34" charset="0"/>
              </a:rPr>
              <a:t>oprogramwoanie</a:t>
            </a:r>
            <a:endParaRPr lang="pl-PL" sz="2400" kern="700" spc="-90" dirty="0">
              <a:solidFill>
                <a:schemeClr val="bg1"/>
              </a:solidFill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742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rostokąt 3">
            <a:extLst>
              <a:ext uri="{FF2B5EF4-FFF2-40B4-BE49-F238E27FC236}">
                <a16:creationId xmlns:a16="http://schemas.microsoft.com/office/drawing/2014/main" id="{1EDB8EBF-9EB4-4BC2-BD5E-419B291F46C5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 dirty="0"/>
          </a:p>
        </p:txBody>
      </p:sp>
      <p:sp>
        <p:nvSpPr>
          <p:cNvPr id="6" name="TextBox 3">
            <a:extLst>
              <a:ext uri="{FF2B5EF4-FFF2-40B4-BE49-F238E27FC236}">
                <a16:creationId xmlns:a16="http://schemas.microsoft.com/office/drawing/2014/main" id="{152A557B-EDA1-411E-9D00-8B1E7A8C0E91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150" dirty="0">
                <a:solidFill>
                  <a:srgbClr val="F3791F"/>
                </a:solidFill>
                <a:latin typeface="Helvetica 75 Bold" panose="020B0804020202020204" pitchFamily="34" charset="0"/>
              </a:rPr>
              <a:t>A w kolejnych latach…</a:t>
            </a:r>
          </a:p>
        </p:txBody>
      </p:sp>
      <p:sp>
        <p:nvSpPr>
          <p:cNvPr id="3" name="Prostokąt 2">
            <a:extLst>
              <a:ext uri="{FF2B5EF4-FFF2-40B4-BE49-F238E27FC236}">
                <a16:creationId xmlns:a16="http://schemas.microsoft.com/office/drawing/2014/main" id="{0850D598-B099-40F8-8013-6002493AB9BB}"/>
              </a:ext>
            </a:extLst>
          </p:cNvPr>
          <p:cNvSpPr/>
          <p:nvPr/>
        </p:nvSpPr>
        <p:spPr>
          <a:xfrm>
            <a:off x="353785" y="1303463"/>
            <a:ext cx="5133271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163" lvl="0">
              <a:defRPr/>
            </a:pP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Rozwiązania do pracy zdalnej wciąż będą celem cyberprzestępców</a:t>
            </a:r>
          </a:p>
          <a:p>
            <a:pPr lvl="0">
              <a:defRPr/>
            </a:pPr>
            <a:endParaRPr lang="pl-PL" sz="9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pPr lvl="0">
              <a:defRPr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zukują oni podatności omijających systemy zabezpieczeń. Wyzwaniem będzie skuteczna ochrona infrastruktury zdalnego dostępu. 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773EEE57-96B3-493B-87E4-E60F6ED48023}"/>
              </a:ext>
            </a:extLst>
          </p:cNvPr>
          <p:cNvSpPr/>
          <p:nvPr/>
        </p:nvSpPr>
        <p:spPr>
          <a:xfrm>
            <a:off x="6481782" y="1302522"/>
            <a:ext cx="47191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163">
              <a:defRPr/>
            </a:pP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Ataki z użyciem </a:t>
            </a:r>
            <a:r>
              <a:rPr lang="pl-PL" sz="20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ransomware</a:t>
            </a: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 będą wymagały zmiany strategii</a:t>
            </a:r>
          </a:p>
          <a:p>
            <a:pPr>
              <a:defRPr/>
            </a:pPr>
            <a:endParaRPr lang="pl-PL" sz="8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pPr lvl="0">
              <a:defRPr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órcy </a:t>
            </a:r>
            <a:r>
              <a:rPr lang="pl-PL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ware</a:t>
            </a: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ędą zmuszeni do opracowania nowych taktyk. Organizacje prowadzą już kampanie uświadamiające swoich pracowników odnośnie zagrożeń.</a:t>
            </a:r>
          </a:p>
        </p:txBody>
      </p:sp>
      <p:sp>
        <p:nvSpPr>
          <p:cNvPr id="8" name="Prostokąt 7">
            <a:extLst>
              <a:ext uri="{FF2B5EF4-FFF2-40B4-BE49-F238E27FC236}">
                <a16:creationId xmlns:a16="http://schemas.microsoft.com/office/drawing/2014/main" id="{B61C284B-019F-4951-99E0-2C89AB34241E}"/>
              </a:ext>
            </a:extLst>
          </p:cNvPr>
          <p:cNvSpPr/>
          <p:nvPr/>
        </p:nvSpPr>
        <p:spPr>
          <a:xfrm>
            <a:off x="451756" y="3232854"/>
            <a:ext cx="515438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>
              <a:defRPr/>
            </a:pP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Znaczący wzrost tendencji</a:t>
            </a:r>
          </a:p>
          <a:p>
            <a:pPr marL="446088">
              <a:defRPr/>
            </a:pP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ataków na urządzenia </a:t>
            </a:r>
            <a:r>
              <a:rPr lang="pl-PL" sz="2000" spc="-80" dirty="0" err="1">
                <a:solidFill>
                  <a:schemeClr val="bg1"/>
                </a:solidFill>
                <a:latin typeface="Helvetica 75" panose="020B0804020202020204" pitchFamily="34" charset="0"/>
              </a:rPr>
              <a:t>IoT</a:t>
            </a:r>
            <a:endParaRPr lang="pl-PL" sz="20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pPr>
              <a:defRPr/>
            </a:pPr>
            <a:endParaRPr lang="pl-PL" sz="8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pPr lvl="0">
              <a:defRPr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 15 mld w 2023 do 30+ mld w 2030 aktywnych podłączonych urządzeń </a:t>
            </a:r>
            <a:r>
              <a:rPr lang="pl-PL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oT</a:t>
            </a: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 wykorzystywanie ich do </a:t>
            </a:r>
            <a:r>
              <a:rPr lang="pl-PL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ksfiltracji</a:t>
            </a: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nych lub przeprowadzania ataków typu „</a:t>
            </a:r>
            <a:r>
              <a:rPr lang="pl-PL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ral</a:t>
            </a: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pl-PL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vement</a:t>
            </a: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.</a:t>
            </a:r>
          </a:p>
        </p:txBody>
      </p:sp>
      <p:sp>
        <p:nvSpPr>
          <p:cNvPr id="9" name="Prostokąt 8">
            <a:extLst>
              <a:ext uri="{FF2B5EF4-FFF2-40B4-BE49-F238E27FC236}">
                <a16:creationId xmlns:a16="http://schemas.microsoft.com/office/drawing/2014/main" id="{1163AA11-B8C1-4E57-9FF8-F73655F848DD}"/>
              </a:ext>
            </a:extLst>
          </p:cNvPr>
          <p:cNvSpPr/>
          <p:nvPr/>
        </p:nvSpPr>
        <p:spPr>
          <a:xfrm>
            <a:off x="6532501" y="3213902"/>
            <a:ext cx="525127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6088">
              <a:defRPr/>
            </a:pP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Sztuczna inteligencja wykorzystywana do typowania potencjalnych ofiar ataków</a:t>
            </a:r>
          </a:p>
          <a:p>
            <a:pPr>
              <a:defRPr/>
            </a:pPr>
            <a:endParaRPr lang="pl-PL" sz="8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pPr lvl="0">
              <a:defRPr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chanizmy oparte na AI będą tworzyć skuteczne kampanie dezinformacyjne i socjotechniczne, a także </a:t>
            </a:r>
            <a:r>
              <a:rPr lang="pl-PL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epfake’i</a:t>
            </a: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>
              <a:defRPr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wideo i audio).</a:t>
            </a:r>
          </a:p>
        </p:txBody>
      </p:sp>
      <p:sp>
        <p:nvSpPr>
          <p:cNvPr id="11" name="Prostokąt 10">
            <a:extLst>
              <a:ext uri="{FF2B5EF4-FFF2-40B4-BE49-F238E27FC236}">
                <a16:creationId xmlns:a16="http://schemas.microsoft.com/office/drawing/2014/main" id="{A0A4E99D-849B-493C-96DC-42E04E23C4CA}"/>
              </a:ext>
            </a:extLst>
          </p:cNvPr>
          <p:cNvSpPr/>
          <p:nvPr/>
        </p:nvSpPr>
        <p:spPr>
          <a:xfrm>
            <a:off x="3858986" y="5134084"/>
            <a:ext cx="4920343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163" lvl="0">
              <a:defRPr/>
            </a:pPr>
            <a:r>
              <a:rPr lang="pl-PL" sz="2000" spc="-80" dirty="0">
                <a:solidFill>
                  <a:schemeClr val="bg1"/>
                </a:solidFill>
                <a:latin typeface="Helvetica 75" panose="020B0804020202020204" pitchFamily="34" charset="0"/>
              </a:rPr>
              <a:t>Wzrost ataków z wykorzystaniem pozyskanych danych</a:t>
            </a:r>
          </a:p>
          <a:p>
            <a:pPr lvl="0">
              <a:defRPr/>
            </a:pPr>
            <a:endParaRPr lang="pl-PL" sz="800" spc="-80" dirty="0">
              <a:solidFill>
                <a:schemeClr val="bg1"/>
              </a:solidFill>
              <a:latin typeface="Helvetica 75" panose="020B0804020202020204" pitchFamily="34" charset="0"/>
            </a:endParaRPr>
          </a:p>
          <a:p>
            <a:pPr>
              <a:defRPr/>
            </a:pPr>
            <a:r>
              <a:rPr lang="pl-PL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pione lub wykradzione dane dostępowe do infrastruktury krytycznej Państwa i infrastruktury technicznej firm. </a:t>
            </a:r>
          </a:p>
        </p:txBody>
      </p:sp>
      <p:pic>
        <p:nvPicPr>
          <p:cNvPr id="18" name="Obraz 17">
            <a:extLst>
              <a:ext uri="{FF2B5EF4-FFF2-40B4-BE49-F238E27FC236}">
                <a16:creationId xmlns:a16="http://schemas.microsoft.com/office/drawing/2014/main" id="{3287D23E-36C0-4688-9E12-B1F95A3DAB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8986" y="5150413"/>
            <a:ext cx="508474" cy="617965"/>
          </a:xfrm>
          <a:prstGeom prst="rect">
            <a:avLst/>
          </a:prstGeom>
        </p:spPr>
      </p:pic>
      <p:pic>
        <p:nvPicPr>
          <p:cNvPr id="20" name="Obraz 19">
            <a:extLst>
              <a:ext uri="{FF2B5EF4-FFF2-40B4-BE49-F238E27FC236}">
                <a16:creationId xmlns:a16="http://schemas.microsoft.com/office/drawing/2014/main" id="{9BEFC91A-100B-43AE-B015-01CB808F42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5139" y="3307148"/>
            <a:ext cx="508474" cy="539024"/>
          </a:xfrm>
          <a:prstGeom prst="rect">
            <a:avLst/>
          </a:prstGeom>
        </p:spPr>
      </p:pic>
      <p:pic>
        <p:nvPicPr>
          <p:cNvPr id="22" name="Obraz 21">
            <a:extLst>
              <a:ext uri="{FF2B5EF4-FFF2-40B4-BE49-F238E27FC236}">
                <a16:creationId xmlns:a16="http://schemas.microsoft.com/office/drawing/2014/main" id="{E637575D-4BF8-4E35-A57A-378F366D05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023" y="1396524"/>
            <a:ext cx="464932" cy="464932"/>
          </a:xfrm>
          <a:prstGeom prst="rect">
            <a:avLst/>
          </a:prstGeom>
        </p:spPr>
      </p:pic>
      <p:pic>
        <p:nvPicPr>
          <p:cNvPr id="24" name="Obraz 23">
            <a:extLst>
              <a:ext uri="{FF2B5EF4-FFF2-40B4-BE49-F238E27FC236}">
                <a16:creationId xmlns:a16="http://schemas.microsoft.com/office/drawing/2014/main" id="{8FE5677E-4483-4BFC-A1AD-40DA6658DA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32501" y="1446972"/>
            <a:ext cx="441697" cy="441697"/>
          </a:xfrm>
          <a:prstGeom prst="rect">
            <a:avLst/>
          </a:prstGeom>
        </p:spPr>
      </p:pic>
      <p:pic>
        <p:nvPicPr>
          <p:cNvPr id="26" name="Obraz 25">
            <a:extLst>
              <a:ext uri="{FF2B5EF4-FFF2-40B4-BE49-F238E27FC236}">
                <a16:creationId xmlns:a16="http://schemas.microsoft.com/office/drawing/2014/main" id="{34F0E5E5-1065-4916-946A-D5E3FCD591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197" y="3323477"/>
            <a:ext cx="508474" cy="508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007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rostokąt 19">
            <a:extLst>
              <a:ext uri="{FF2B5EF4-FFF2-40B4-BE49-F238E27FC236}">
                <a16:creationId xmlns:a16="http://schemas.microsoft.com/office/drawing/2014/main" id="{95E9ACED-E619-421A-A8A7-FC591A2ED914}"/>
              </a:ext>
            </a:extLst>
          </p:cNvPr>
          <p:cNvSpPr/>
          <p:nvPr/>
        </p:nvSpPr>
        <p:spPr>
          <a:xfrm>
            <a:off x="0" y="0"/>
            <a:ext cx="12192000" cy="69024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14400" lvl="1" indent="-457200">
              <a:buFont typeface="Arial" panose="020B0604020202020204" pitchFamily="34" charset="0"/>
              <a:buChar char="•"/>
            </a:pPr>
            <a:endParaRPr lang="pl-PL" dirty="0">
              <a:solidFill>
                <a:schemeClr val="bg1"/>
              </a:solidFill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1" name="pole tekstowe 10">
            <a:extLst>
              <a:ext uri="{FF2B5EF4-FFF2-40B4-BE49-F238E27FC236}">
                <a16:creationId xmlns:a16="http://schemas.microsoft.com/office/drawing/2014/main" id="{6455730C-AC81-8EF5-35E0-B47958307184}"/>
              </a:ext>
            </a:extLst>
          </p:cNvPr>
          <p:cNvSpPr txBox="1"/>
          <p:nvPr/>
        </p:nvSpPr>
        <p:spPr>
          <a:xfrm>
            <a:off x="-48987" y="1213835"/>
            <a:ext cx="12192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R="0" lvl="0" indent="0" algn="ctr" defTabSz="121917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3600" kern="700" spc="-90" dirty="0">
                <a:latin typeface="Helvetica 75 Bold" panose="020B0804020202020204" pitchFamily="34" charset="0"/>
              </a:rPr>
              <a:t>Wycieki danych</a:t>
            </a:r>
          </a:p>
        </p:txBody>
      </p:sp>
      <p:sp>
        <p:nvSpPr>
          <p:cNvPr id="12" name="pole tekstowe 11">
            <a:extLst>
              <a:ext uri="{FF2B5EF4-FFF2-40B4-BE49-F238E27FC236}">
                <a16:creationId xmlns:a16="http://schemas.microsoft.com/office/drawing/2014/main" id="{23B43DD7-FEA2-0675-E9BF-A3C391C1D72D}"/>
              </a:ext>
            </a:extLst>
          </p:cNvPr>
          <p:cNvSpPr txBox="1"/>
          <p:nvPr/>
        </p:nvSpPr>
        <p:spPr>
          <a:xfrm>
            <a:off x="-48987" y="2232361"/>
            <a:ext cx="12192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pl-PL" sz="3600" kern="700" spc="-90" dirty="0">
                <a:latin typeface="Helvetica 75 Bold" panose="020B0804020202020204" pitchFamily="34" charset="0"/>
              </a:rPr>
              <a:t>Sztuczna inteligencja</a:t>
            </a:r>
          </a:p>
        </p:txBody>
      </p:sp>
      <p:sp>
        <p:nvSpPr>
          <p:cNvPr id="39" name="pole tekstowe 38">
            <a:extLst>
              <a:ext uri="{FF2B5EF4-FFF2-40B4-BE49-F238E27FC236}">
                <a16:creationId xmlns:a16="http://schemas.microsoft.com/office/drawing/2014/main" id="{B110F7C1-B94A-EE7A-014A-1B5D346EC49A}"/>
              </a:ext>
            </a:extLst>
          </p:cNvPr>
          <p:cNvSpPr txBox="1"/>
          <p:nvPr/>
        </p:nvSpPr>
        <p:spPr>
          <a:xfrm>
            <a:off x="-48987" y="4354676"/>
            <a:ext cx="12192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R="0" lvl="0" indent="0" algn="ctr" defTabSz="121917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3600" kern="700" spc="-90" dirty="0" err="1">
                <a:latin typeface="Helvetica 75 Bold" panose="020B0804020202020204" pitchFamily="34" charset="0"/>
              </a:rPr>
              <a:t>Cyberodporność</a:t>
            </a:r>
            <a:r>
              <a:rPr lang="pl-PL" sz="3600" kern="700" spc="-90" dirty="0">
                <a:latin typeface="Helvetica 75 Bold" panose="020B0804020202020204" pitchFamily="34" charset="0"/>
              </a:rPr>
              <a:t> biznesu </a:t>
            </a:r>
          </a:p>
        </p:txBody>
      </p:sp>
      <p:sp>
        <p:nvSpPr>
          <p:cNvPr id="40" name="pole tekstowe 39">
            <a:extLst>
              <a:ext uri="{FF2B5EF4-FFF2-40B4-BE49-F238E27FC236}">
                <a16:creationId xmlns:a16="http://schemas.microsoft.com/office/drawing/2014/main" id="{55D384E4-272C-E607-4E2A-C8B46DA2959B}"/>
              </a:ext>
            </a:extLst>
          </p:cNvPr>
          <p:cNvSpPr txBox="1"/>
          <p:nvPr/>
        </p:nvSpPr>
        <p:spPr>
          <a:xfrm>
            <a:off x="-48987" y="3309847"/>
            <a:ext cx="12192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pl-PL" sz="3600" kern="700" spc="-90" dirty="0">
                <a:latin typeface="Helvetica 75 Bold" panose="020B0804020202020204" pitchFamily="34" charset="0"/>
              </a:rPr>
              <a:t>Edukacja</a:t>
            </a:r>
          </a:p>
        </p:txBody>
      </p:sp>
      <p:sp>
        <p:nvSpPr>
          <p:cNvPr id="16" name="TextBox 3">
            <a:extLst>
              <a:ext uri="{FF2B5EF4-FFF2-40B4-BE49-F238E27FC236}">
                <a16:creationId xmlns:a16="http://schemas.microsoft.com/office/drawing/2014/main" id="{8131E585-B3F4-4D1A-A41D-1DBD28CA7F1D}"/>
              </a:ext>
            </a:extLst>
          </p:cNvPr>
          <p:cNvSpPr txBox="1"/>
          <p:nvPr/>
        </p:nvSpPr>
        <p:spPr>
          <a:xfrm>
            <a:off x="285708" y="280010"/>
            <a:ext cx="113350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l-PL" sz="3600" kern="700" spc="-90" dirty="0">
                <a:solidFill>
                  <a:srgbClr val="F3791F"/>
                </a:solidFill>
                <a:latin typeface="Helvetica 75 Bold" panose="020B0804020202020204" pitchFamily="34" charset="0"/>
              </a:rPr>
              <a:t>Co przed nami</a:t>
            </a:r>
          </a:p>
        </p:txBody>
      </p:sp>
      <p:sp>
        <p:nvSpPr>
          <p:cNvPr id="19" name="pole tekstowe 18">
            <a:extLst>
              <a:ext uri="{FF2B5EF4-FFF2-40B4-BE49-F238E27FC236}">
                <a16:creationId xmlns:a16="http://schemas.microsoft.com/office/drawing/2014/main" id="{3FCEE5B0-D67C-4380-B78C-57D71290089C}"/>
              </a:ext>
            </a:extLst>
          </p:cNvPr>
          <p:cNvSpPr txBox="1"/>
          <p:nvPr/>
        </p:nvSpPr>
        <p:spPr>
          <a:xfrm>
            <a:off x="-48987" y="5497478"/>
            <a:ext cx="12192000" cy="55399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1219170">
              <a:defRPr/>
            </a:pPr>
            <a:r>
              <a:rPr lang="pl-PL" sz="3600" kern="700" spc="-90" dirty="0">
                <a:latin typeface="Helvetica 75 Bold" panose="020B0804020202020204" pitchFamily="34" charset="0"/>
              </a:rPr>
              <a:t>Post Quantum </a:t>
            </a:r>
            <a:r>
              <a:rPr lang="pl-PL" sz="3600" kern="700" spc="-90" dirty="0" err="1">
                <a:latin typeface="Helvetica 75 Bold" panose="020B0804020202020204" pitchFamily="34" charset="0"/>
              </a:rPr>
              <a:t>Cryptography</a:t>
            </a:r>
            <a:endParaRPr lang="pl-PL" sz="3600" kern="700" spc="-90" dirty="0">
              <a:latin typeface="Helvetica 75 Bold" panose="020B08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669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18D6033-1CC1-74A7-5405-0C08E0513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1">
            <a:extLst>
              <a:ext uri="{FF2B5EF4-FFF2-40B4-BE49-F238E27FC236}">
                <a16:creationId xmlns:a16="http://schemas.microsoft.com/office/drawing/2014/main" id="{80D70882-09DF-5A33-2F07-2DD7131E07B8}"/>
              </a:ext>
            </a:extLst>
          </p:cNvPr>
          <p:cNvSpPr txBox="1">
            <a:spLocks/>
          </p:cNvSpPr>
          <p:nvPr/>
        </p:nvSpPr>
        <p:spPr>
          <a:xfrm>
            <a:off x="0" y="398811"/>
            <a:ext cx="12192000" cy="7793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377">
              <a:defRPr/>
            </a:pPr>
            <a:r>
              <a:rPr lang="pl-PL" sz="3600" dirty="0">
                <a:solidFill>
                  <a:schemeClr val="bg2"/>
                </a:solidFill>
                <a:latin typeface="Helvetica 75 Bold" panose="020B0804020202020204" pitchFamily="34" charset="0"/>
              </a:rPr>
              <a:t>Ustawa o Krajowym Systemie </a:t>
            </a:r>
            <a:r>
              <a:rPr lang="pl-PL" sz="3600" dirty="0" err="1">
                <a:solidFill>
                  <a:schemeClr val="bg2"/>
                </a:solidFill>
                <a:latin typeface="Helvetica 75 Bold" panose="020B0804020202020204" pitchFamily="34" charset="0"/>
              </a:rPr>
              <a:t>Cyberbezpieczeństwa</a:t>
            </a:r>
            <a:endParaRPr lang="pl-PL" sz="3600" dirty="0">
              <a:solidFill>
                <a:schemeClr val="bg2"/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3" name="Obraz 2">
            <a:extLst>
              <a:ext uri="{FF2B5EF4-FFF2-40B4-BE49-F238E27FC236}">
                <a16:creationId xmlns:a16="http://schemas.microsoft.com/office/drawing/2014/main" id="{46612DB9-1690-2A50-D13D-8B3670B678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059" y="1536422"/>
            <a:ext cx="7008779" cy="4663761"/>
          </a:xfrm>
          <a:prstGeom prst="rect">
            <a:avLst/>
          </a:prstGeom>
        </p:spPr>
      </p:pic>
      <p:pic>
        <p:nvPicPr>
          <p:cNvPr id="2" name="Obraz 1">
            <a:extLst>
              <a:ext uri="{FF2B5EF4-FFF2-40B4-BE49-F238E27FC236}">
                <a16:creationId xmlns:a16="http://schemas.microsoft.com/office/drawing/2014/main" id="{D062E7FC-8678-0353-6125-410F2518EF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3175" y="1755853"/>
            <a:ext cx="2926334" cy="3962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421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18D6033-1CC1-74A7-5405-0C08E0513C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1">
            <a:extLst>
              <a:ext uri="{FF2B5EF4-FFF2-40B4-BE49-F238E27FC236}">
                <a16:creationId xmlns:a16="http://schemas.microsoft.com/office/drawing/2014/main" id="{7798FA9D-71A9-1B5F-16E1-9411429B9B09}"/>
              </a:ext>
            </a:extLst>
          </p:cNvPr>
          <p:cNvSpPr txBox="1">
            <a:spLocks/>
          </p:cNvSpPr>
          <p:nvPr/>
        </p:nvSpPr>
        <p:spPr>
          <a:xfrm>
            <a:off x="436054" y="398811"/>
            <a:ext cx="10931535" cy="77936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914377">
              <a:defRPr/>
            </a:pPr>
            <a:r>
              <a:rPr lang="pl-PL" sz="3733" dirty="0">
                <a:solidFill>
                  <a:schemeClr val="bg2"/>
                </a:solidFill>
                <a:latin typeface="Helvetica 75 Bold" panose="020B0804020202020204" pitchFamily="34" charset="0"/>
              </a:rPr>
              <a:t>NIS 2 znacznie rozszerza liczbę podmiotów</a:t>
            </a: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92A3FAF3-9177-01CD-DCF1-0395497A2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7542" y="164637"/>
            <a:ext cx="8613509" cy="6187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rostokąt 1">
            <a:extLst>
              <a:ext uri="{FF2B5EF4-FFF2-40B4-BE49-F238E27FC236}">
                <a16:creationId xmlns:a16="http://schemas.microsoft.com/office/drawing/2014/main" id="{9CB0EFE7-2827-4704-D7B0-539F569A7F3C}"/>
              </a:ext>
            </a:extLst>
          </p:cNvPr>
          <p:cNvSpPr/>
          <p:nvPr/>
        </p:nvSpPr>
        <p:spPr>
          <a:xfrm>
            <a:off x="2255574" y="5733257"/>
            <a:ext cx="2784309" cy="862343"/>
          </a:xfrm>
          <a:prstGeom prst="rect">
            <a:avLst/>
          </a:prstGeom>
          <a:solidFill>
            <a:srgbClr val="F07D0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4267" dirty="0">
                <a:solidFill>
                  <a:srgbClr val="FFFFFF"/>
                </a:solidFill>
                <a:latin typeface="Helvetica 75 Bold" panose="020B0804020202020204" pitchFamily="34" charset="0"/>
              </a:rPr>
              <a:t>400</a:t>
            </a:r>
          </a:p>
        </p:txBody>
      </p:sp>
      <p:sp>
        <p:nvSpPr>
          <p:cNvPr id="6" name="Prostokąt 5">
            <a:extLst>
              <a:ext uri="{FF2B5EF4-FFF2-40B4-BE49-F238E27FC236}">
                <a16:creationId xmlns:a16="http://schemas.microsoft.com/office/drawing/2014/main" id="{817B3F68-348F-D99F-C061-EF8BB30D8996}"/>
              </a:ext>
            </a:extLst>
          </p:cNvPr>
          <p:cNvSpPr/>
          <p:nvPr/>
        </p:nvSpPr>
        <p:spPr>
          <a:xfrm>
            <a:off x="6864086" y="5709051"/>
            <a:ext cx="2784309" cy="862343"/>
          </a:xfrm>
          <a:prstGeom prst="rect">
            <a:avLst/>
          </a:prstGeom>
          <a:solidFill>
            <a:srgbClr val="F07D00"/>
          </a:solidFill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pl-PL" sz="4267" dirty="0">
                <a:solidFill>
                  <a:srgbClr val="FFFFFF"/>
                </a:solidFill>
                <a:latin typeface="Helvetica 75 Bold" panose="020B0804020202020204" pitchFamily="34" charset="0"/>
              </a:rPr>
              <a:t>40 000</a:t>
            </a:r>
          </a:p>
        </p:txBody>
      </p:sp>
    </p:spTree>
    <p:extLst>
      <p:ext uri="{BB962C8B-B14F-4D97-AF65-F5344CB8AC3E}">
        <p14:creationId xmlns:p14="http://schemas.microsoft.com/office/powerpoint/2010/main" val="2408049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8xHE6quqywYYD1Gfrz2g"/>
</p:tagLst>
</file>

<file path=ppt/theme/theme1.xml><?xml version="1.0" encoding="utf-8"?>
<a:theme xmlns:a="http://schemas.openxmlformats.org/drawingml/2006/main" name="OPL_template_external">
  <a:themeElements>
    <a:clrScheme name="Orange Czarny Pomocnicze">
      <a:dk1>
        <a:srgbClr val="FFFFFF"/>
      </a:dk1>
      <a:lt1>
        <a:srgbClr val="000000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E07E2824-F2F1-46C7-9FD4-7110CB3EC7FF}" vid="{E3C740B2-4D30-4AAA-BFC0-5E2724960AC8}"/>
    </a:ext>
  </a:extLst>
</a:theme>
</file>

<file path=ppt/theme/theme2.xml><?xml version="1.0" encoding="utf-8"?>
<a:theme xmlns:a="http://schemas.openxmlformats.org/drawingml/2006/main" name="2_Black Master">
  <a:themeElements>
    <a:clrScheme name="Orange WHT Secondary">
      <a:dk1>
        <a:srgbClr val="000000"/>
      </a:dk1>
      <a:lt1>
        <a:srgbClr val="FFFFFF"/>
      </a:lt1>
      <a:dk2>
        <a:srgbClr val="8F8F8F"/>
      </a:dk2>
      <a:lt2>
        <a:srgbClr val="FF7900"/>
      </a:lt2>
      <a:accent1>
        <a:srgbClr val="FF7900"/>
      </a:accent1>
      <a:accent2>
        <a:srgbClr val="4BB4E6"/>
      </a:accent2>
      <a:accent3>
        <a:srgbClr val="50BE87"/>
      </a:accent3>
      <a:accent4>
        <a:srgbClr val="FFB4E6"/>
      </a:accent4>
      <a:accent5>
        <a:srgbClr val="A885D8"/>
      </a:accent5>
      <a:accent6>
        <a:srgbClr val="FFD200"/>
      </a:accent6>
      <a:hlink>
        <a:srgbClr val="FF7900"/>
      </a:hlink>
      <a:folHlink>
        <a:srgbClr val="FF7900"/>
      </a:folHlink>
    </a:clrScheme>
    <a:fontScheme name="Orange">
      <a:majorFont>
        <a:latin typeface="Helvetica 75 Bold"/>
        <a:ea typeface=""/>
        <a:cs typeface=""/>
      </a:majorFont>
      <a:minorFont>
        <a:latin typeface="Helvetica 75 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non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RA_Template_Beta_external_110816.potx" id="{096397F8-02DF-40E4-AEB9-88A0052F30F0}" vid="{AA36791E-F7D8-46B6-BCF9-C51758B3B430}"/>
    </a:ext>
  </a:extLst>
</a:theme>
</file>

<file path=ppt/theme/theme3.xml><?xml version="1.0" encoding="utf-8"?>
<a:theme xmlns:a="http://schemas.openxmlformats.org/drawingml/2006/main" name="Office Theme">
  <a:themeElements>
    <a:clrScheme name="Motyw pakietu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Motyw pakietu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tyw pakietu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OUK_template">
  <a:themeElements>
    <a:clrScheme name="Orange Black">
      <a:dk1>
        <a:srgbClr val="FFFFFF"/>
      </a:dk1>
      <a:lt1>
        <a:srgbClr val="000000"/>
      </a:lt1>
      <a:dk2>
        <a:srgbClr val="FF6600"/>
      </a:dk2>
      <a:lt2>
        <a:srgbClr val="8E908F"/>
      </a:lt2>
      <a:accent1>
        <a:srgbClr val="FF6600"/>
      </a:accent1>
      <a:accent2>
        <a:srgbClr val="323232"/>
      </a:accent2>
      <a:accent3>
        <a:srgbClr val="5C5C5C"/>
      </a:accent3>
      <a:accent4>
        <a:srgbClr val="8E908F"/>
      </a:accent4>
      <a:accent5>
        <a:srgbClr val="ADADAD"/>
      </a:accent5>
      <a:accent6>
        <a:srgbClr val="CCCCCC"/>
      </a:accent6>
      <a:hlink>
        <a:srgbClr val="000000"/>
      </a:hlink>
      <a:folHlink>
        <a:srgbClr val="000000"/>
      </a:folHlink>
    </a:clrScheme>
    <a:fontScheme name="Orange">
      <a:majorFont>
        <a:latin typeface="Helvetica 75"/>
        <a:ea typeface=""/>
        <a:cs typeface=""/>
      </a:majorFont>
      <a:minorFont>
        <a:latin typeface="Helvetica 75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range_PPTTemplate_v3.potx" id="{7EFB1CC4-B630-4DC5-B88F-B33ED10FA70B}" vid="{E661C32F-4836-4DD1-B604-E27281C607A6}"/>
    </a:ext>
  </a:extLst>
</a:theme>
</file>

<file path=ppt/theme/theme5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2</TotalTime>
  <Words>706</Words>
  <Application>Microsoft Office PowerPoint</Application>
  <PresentationFormat>Panoramiczny</PresentationFormat>
  <Paragraphs>170</Paragraphs>
  <Slides>14</Slides>
  <Notes>6</Notes>
  <HiddenSlides>0</HiddenSlides>
  <MMClips>0</MMClips>
  <ScaleCrop>false</ScaleCrop>
  <HeadingPairs>
    <vt:vector size="8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4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4</vt:i4>
      </vt:variant>
    </vt:vector>
  </HeadingPairs>
  <TitlesOfParts>
    <vt:vector size="28" baseType="lpstr">
      <vt:lpstr>ＭＳ Ｐゴシック</vt:lpstr>
      <vt:lpstr>Arial</vt:lpstr>
      <vt:lpstr>Calibri</vt:lpstr>
      <vt:lpstr>Calibri Light</vt:lpstr>
      <vt:lpstr>Helvetica 55 Roman</vt:lpstr>
      <vt:lpstr>Helvetica 75</vt:lpstr>
      <vt:lpstr>Helvetica 75 Bold</vt:lpstr>
      <vt:lpstr>Helvetica Neue</vt:lpstr>
      <vt:lpstr>Wingdings</vt:lpstr>
      <vt:lpstr>OPL_template_external</vt:lpstr>
      <vt:lpstr>2_Black Master</vt:lpstr>
      <vt:lpstr>Office Theme</vt:lpstr>
      <vt:lpstr>5_OUK_templat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rtur.Bocek@orange.com</dc:creator>
  <cp:lastModifiedBy>WOYCZYŃSKA Beata O-PL/Detal</cp:lastModifiedBy>
  <cp:revision>100</cp:revision>
  <dcterms:created xsi:type="dcterms:W3CDTF">2023-02-19T11:11:53Z</dcterms:created>
  <dcterms:modified xsi:type="dcterms:W3CDTF">2024-09-11T11:47:21Z</dcterms:modified>
</cp:coreProperties>
</file>